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7.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0.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3.xml" ContentType="application/vnd.openxmlformats-officedocument.presentationml.tags+xml"/>
  <Override PartName="/ppt/tags/tag34.xml" ContentType="application/vnd.openxmlformats-officedocument.presentationml.tags+xml"/>
  <Override PartName="/ppt/notesSlides/notesSlide14.xml" ContentType="application/vnd.openxmlformats-officedocument.presentationml.notesSlide+xml"/>
  <Override PartName="/ppt/tags/tag35.xml" ContentType="application/vnd.openxmlformats-officedocument.presentationml.tags+xml"/>
  <Override PartName="/ppt/notesSlides/notesSlide15.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6.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9"/>
    <p:sldMasterId id="2147483694" r:id="rId20"/>
  </p:sldMasterIdLst>
  <p:notesMasterIdLst>
    <p:notesMasterId r:id="rId55"/>
  </p:notesMasterIdLst>
  <p:sldIdLst>
    <p:sldId id="2147479643" r:id="rId21"/>
    <p:sldId id="2147483217" r:id="rId22"/>
    <p:sldId id="2147483231" r:id="rId23"/>
    <p:sldId id="2147483354" r:id="rId24"/>
    <p:sldId id="2147483351" r:id="rId25"/>
    <p:sldId id="2147483248" r:id="rId26"/>
    <p:sldId id="2147483263" r:id="rId27"/>
    <p:sldId id="2147483265" r:id="rId28"/>
    <p:sldId id="2147483269" r:id="rId29"/>
    <p:sldId id="2147483268" r:id="rId30"/>
    <p:sldId id="2147483360" r:id="rId31"/>
    <p:sldId id="2147483358" r:id="rId32"/>
    <p:sldId id="2147483359" r:id="rId33"/>
    <p:sldId id="2147483355" r:id="rId34"/>
    <p:sldId id="2147483276" r:id="rId35"/>
    <p:sldId id="2147483297" r:id="rId36"/>
    <p:sldId id="2147483298" r:id="rId37"/>
    <p:sldId id="2147483299" r:id="rId38"/>
    <p:sldId id="2147483300" r:id="rId39"/>
    <p:sldId id="2147483301" r:id="rId40"/>
    <p:sldId id="2147483302" r:id="rId41"/>
    <p:sldId id="2147483303" r:id="rId42"/>
    <p:sldId id="2147483304" r:id="rId43"/>
    <p:sldId id="2147483306" r:id="rId44"/>
    <p:sldId id="2147483307" r:id="rId45"/>
    <p:sldId id="2147483308" r:id="rId46"/>
    <p:sldId id="2147483356" r:id="rId47"/>
    <p:sldId id="2147483277" r:id="rId48"/>
    <p:sldId id="2147483324" r:id="rId49"/>
    <p:sldId id="2147483325" r:id="rId50"/>
    <p:sldId id="2147483326" r:id="rId51"/>
    <p:sldId id="2147483327" r:id="rId52"/>
    <p:sldId id="2147483357" r:id="rId53"/>
    <p:sldId id="2147483361"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855AAD6-243B-4214-BB34-5D228F1B9C5C}">
          <p14:sldIdLst>
            <p14:sldId id="2147479643"/>
            <p14:sldId id="2147483217"/>
            <p14:sldId id="2147483231"/>
            <p14:sldId id="2147483354"/>
            <p14:sldId id="2147483351"/>
            <p14:sldId id="2147483248"/>
            <p14:sldId id="2147483263"/>
            <p14:sldId id="2147483265"/>
            <p14:sldId id="2147483269"/>
            <p14:sldId id="2147483268"/>
            <p14:sldId id="2147483360"/>
            <p14:sldId id="2147483358"/>
            <p14:sldId id="2147483359"/>
          </p14:sldIdLst>
        </p14:section>
        <p14:section name="Qatar" id="{41E770E6-5E9D-4B5B-94C6-5482079597DA}">
          <p14:sldIdLst>
            <p14:sldId id="2147483355"/>
            <p14:sldId id="2147483276"/>
            <p14:sldId id="2147483297"/>
            <p14:sldId id="2147483298"/>
            <p14:sldId id="2147483299"/>
            <p14:sldId id="2147483300"/>
            <p14:sldId id="2147483301"/>
            <p14:sldId id="2147483302"/>
            <p14:sldId id="2147483303"/>
            <p14:sldId id="2147483304"/>
            <p14:sldId id="2147483306"/>
            <p14:sldId id="2147483307"/>
            <p14:sldId id="2147483308"/>
            <p14:sldId id="2147483356"/>
          </p14:sldIdLst>
        </p14:section>
        <p14:section name="Turkey" id="{29FDBB45-9FED-4019-A8FD-1FEB6D799EF4}">
          <p14:sldIdLst>
            <p14:sldId id="2147483277"/>
            <p14:sldId id="2147483324"/>
            <p14:sldId id="2147483325"/>
            <p14:sldId id="2147483326"/>
            <p14:sldId id="2147483327"/>
            <p14:sldId id="2147483357"/>
            <p14:sldId id="214748336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17A6C"/>
    <a:srgbClr val="7F6000"/>
    <a:srgbClr val="E0E0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BE189A-A25D-48FD-BBD9-A78FC8D378D8}" v="110" dt="2025-03-10T05:45:06.245"/>
  </p1510:revLst>
</p1510:revInfo>
</file>

<file path=ppt/tableStyles.xml><?xml version="1.0" encoding="utf-8"?>
<a:tblStyleLst xmlns:a="http://schemas.openxmlformats.org/drawingml/2006/main" def="{5C22544A-7EE6-4342-B048-85BDC9FD1C3A}">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370" autoAdjust="0"/>
    <p:restoredTop sz="92252" autoAdjust="0"/>
  </p:normalViewPr>
  <p:slideViewPr>
    <p:cSldViewPr snapToGrid="0">
      <p:cViewPr varScale="1">
        <p:scale>
          <a:sx n="98" d="100"/>
          <a:sy n="98" d="100"/>
        </p:scale>
        <p:origin x="1026" y="9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notesMaster" Target="notesMasters/notesMaster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slideMaster" Target="slideMasters/slideMaster2.xml"/><Relationship Id="rId29" Type="http://schemas.openxmlformats.org/officeDocument/2006/relationships/slide" Target="slides/slide9.xml"/><Relationship Id="rId41" Type="http://schemas.openxmlformats.org/officeDocument/2006/relationships/slide" Target="slides/slide21.xml"/><Relationship Id="rId54"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slide" Target="slides/slide33.xml"/><Relationship Id="rId58"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viewProps" Target="viewProps.xml"/><Relationship Id="rId61" Type="http://schemas.microsoft.com/office/2015/10/relationships/revisionInfo" Target="revisionInfo.xml"/><Relationship Id="rId10" Type="http://schemas.openxmlformats.org/officeDocument/2006/relationships/customXml" Target="../customXml/item10.xml"/><Relationship Id="rId19" Type="http://schemas.openxmlformats.org/officeDocument/2006/relationships/slideMaster" Target="slideMasters/slideMaster1.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presProps" Target="presProps.xml"/><Relationship Id="rId8" Type="http://schemas.openxmlformats.org/officeDocument/2006/relationships/customXml" Target="../customXml/item8.xml"/><Relationship Id="rId51" Type="http://schemas.openxmlformats.org/officeDocument/2006/relationships/slide" Target="slides/slide3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adi Shafiq Qayed فادي شفيق القائد" userId="0a996b8d-3179-42b5-81f4-b5c8c93a4979" providerId="ADAL" clId="{68FDE589-36AA-44A0-AE57-B7972407D54F}"/>
    <pc:docChg chg="undo redo custSel addSld delSld modSld modSection">
      <pc:chgData name="Fadi Shafiq Qayed فادي شفيق القائد" userId="0a996b8d-3179-42b5-81f4-b5c8c93a4979" providerId="ADAL" clId="{68FDE589-36AA-44A0-AE57-B7972407D54F}" dt="2025-02-09T05:18:02.110" v="2438" actId="20577"/>
      <pc:docMkLst>
        <pc:docMk/>
      </pc:docMkLst>
      <pc:sldChg chg="modSp add mod">
        <pc:chgData name="Fadi Shafiq Qayed فادي شفيق القائد" userId="0a996b8d-3179-42b5-81f4-b5c8c93a4979" providerId="ADAL" clId="{68FDE589-36AA-44A0-AE57-B7972407D54F}" dt="2025-02-08T10:00:27.648" v="809" actId="20577"/>
        <pc:sldMkLst>
          <pc:docMk/>
          <pc:sldMk cId="2001866796" sldId="259"/>
        </pc:sldMkLst>
      </pc:sldChg>
      <pc:sldChg chg="modSp add mod">
        <pc:chgData name="Fadi Shafiq Qayed فادي شفيق القائد" userId="0a996b8d-3179-42b5-81f4-b5c8c93a4979" providerId="ADAL" clId="{68FDE589-36AA-44A0-AE57-B7972407D54F}" dt="2025-02-08T10:03:57.373" v="1030" actId="20577"/>
        <pc:sldMkLst>
          <pc:docMk/>
          <pc:sldMk cId="2442049187" sldId="262"/>
        </pc:sldMkLst>
      </pc:sldChg>
      <pc:sldChg chg="modSp add del mod">
        <pc:chgData name="Fadi Shafiq Qayed فادي شفيق القائد" userId="0a996b8d-3179-42b5-81f4-b5c8c93a4979" providerId="ADAL" clId="{68FDE589-36AA-44A0-AE57-B7972407D54F}" dt="2025-02-08T13:47:56.037" v="1226" actId="47"/>
        <pc:sldMkLst>
          <pc:docMk/>
          <pc:sldMk cId="2772197988" sldId="264"/>
        </pc:sldMkLst>
      </pc:sldChg>
      <pc:sldChg chg="delSp modSp add mod">
        <pc:chgData name="Fadi Shafiq Qayed فادي شفيق القائد" userId="0a996b8d-3179-42b5-81f4-b5c8c93a4979" providerId="ADAL" clId="{68FDE589-36AA-44A0-AE57-B7972407D54F}" dt="2025-02-08T13:48:37.295" v="1245" actId="20577"/>
        <pc:sldMkLst>
          <pc:docMk/>
          <pc:sldMk cId="682054052" sldId="265"/>
        </pc:sldMkLst>
      </pc:sldChg>
      <pc:sldChg chg="delSp modSp add mod">
        <pc:chgData name="Fadi Shafiq Qayed فادي شفيق القائد" userId="0a996b8d-3179-42b5-81f4-b5c8c93a4979" providerId="ADAL" clId="{68FDE589-36AA-44A0-AE57-B7972407D54F}" dt="2025-02-08T10:03:31.193" v="1000" actId="20577"/>
        <pc:sldMkLst>
          <pc:docMk/>
          <pc:sldMk cId="3414801132" sldId="266"/>
        </pc:sldMkLst>
      </pc:sldChg>
      <pc:sldChg chg="modSp add mod">
        <pc:chgData name="Fadi Shafiq Qayed فادي شفيق القائد" userId="0a996b8d-3179-42b5-81f4-b5c8c93a4979" providerId="ADAL" clId="{68FDE589-36AA-44A0-AE57-B7972407D54F}" dt="2025-02-08T09:58:13.726" v="551" actId="782"/>
        <pc:sldMkLst>
          <pc:docMk/>
          <pc:sldMk cId="471839244" sldId="268"/>
        </pc:sldMkLst>
      </pc:sldChg>
      <pc:sldChg chg="addSp modSp add mod">
        <pc:chgData name="Fadi Shafiq Qayed فادي شفيق القائد" userId="0a996b8d-3179-42b5-81f4-b5c8c93a4979" providerId="ADAL" clId="{68FDE589-36AA-44A0-AE57-B7972407D54F}" dt="2025-02-08T09:40:49.786" v="423" actId="20577"/>
        <pc:sldMkLst>
          <pc:docMk/>
          <pc:sldMk cId="1974761877" sldId="270"/>
        </pc:sldMkLst>
      </pc:sldChg>
      <pc:sldChg chg="modSp mod">
        <pc:chgData name="Fadi Shafiq Qayed فادي شفيق القائد" userId="0a996b8d-3179-42b5-81f4-b5c8c93a4979" providerId="ADAL" clId="{68FDE589-36AA-44A0-AE57-B7972407D54F}" dt="2025-02-08T15:16:01.196" v="2285" actId="1035"/>
        <pc:sldMkLst>
          <pc:docMk/>
          <pc:sldMk cId="343608988" sldId="2147483231"/>
        </pc:sldMkLst>
      </pc:sldChg>
      <pc:sldChg chg="modSp mod">
        <pc:chgData name="Fadi Shafiq Qayed فادي شفيق القائد" userId="0a996b8d-3179-42b5-81f4-b5c8c93a4979" providerId="ADAL" clId="{68FDE589-36AA-44A0-AE57-B7972407D54F}" dt="2025-02-08T16:56:44.776" v="2359" actId="20577"/>
        <pc:sldMkLst>
          <pc:docMk/>
          <pc:sldMk cId="2478802502" sldId="2147483252"/>
        </pc:sldMkLst>
      </pc:sldChg>
      <pc:sldChg chg="del">
        <pc:chgData name="Fadi Shafiq Qayed فادي شفيق القائد" userId="0a996b8d-3179-42b5-81f4-b5c8c93a4979" providerId="ADAL" clId="{68FDE589-36AA-44A0-AE57-B7972407D54F}" dt="2025-02-08T13:47:24.292" v="1210" actId="47"/>
        <pc:sldMkLst>
          <pc:docMk/>
          <pc:sldMk cId="2684994726" sldId="2147483259"/>
        </pc:sldMkLst>
      </pc:sldChg>
      <pc:sldChg chg="modSp mod">
        <pc:chgData name="Fadi Shafiq Qayed فادي شفيق القائد" userId="0a996b8d-3179-42b5-81f4-b5c8c93a4979" providerId="ADAL" clId="{68FDE589-36AA-44A0-AE57-B7972407D54F}" dt="2025-02-08T14:18:38.692" v="1259" actId="948"/>
        <pc:sldMkLst>
          <pc:docMk/>
          <pc:sldMk cId="3817699629" sldId="2147483261"/>
        </pc:sldMkLst>
      </pc:sldChg>
      <pc:sldChg chg="modSp mod">
        <pc:chgData name="Fadi Shafiq Qayed فادي شفيق القائد" userId="0a996b8d-3179-42b5-81f4-b5c8c93a4979" providerId="ADAL" clId="{68FDE589-36AA-44A0-AE57-B7972407D54F}" dt="2025-02-08T16:55:12.642" v="2344" actId="20577"/>
        <pc:sldMkLst>
          <pc:docMk/>
          <pc:sldMk cId="3955282266" sldId="2147483263"/>
        </pc:sldMkLst>
        <pc:spChg chg="mod">
          <ac:chgData name="Fadi Shafiq Qayed فادي شفيق القائد" userId="0a996b8d-3179-42b5-81f4-b5c8c93a4979" providerId="ADAL" clId="{68FDE589-36AA-44A0-AE57-B7972407D54F}" dt="2025-02-08T16:55:12.642" v="2344" actId="20577"/>
          <ac:spMkLst>
            <pc:docMk/>
            <pc:sldMk cId="3955282266" sldId="2147483263"/>
            <ac:spMk id="138" creationId="{36E7BFE8-D838-9686-B4E7-A1B25994FE6E}"/>
          </ac:spMkLst>
        </pc:spChg>
      </pc:sldChg>
      <pc:sldChg chg="delSp">
        <pc:chgData name="Fadi Shafiq Qayed فادي شفيق القائد" userId="0a996b8d-3179-42b5-81f4-b5c8c93a4979" providerId="ADAL" clId="{68FDE589-36AA-44A0-AE57-B7972407D54F}" dt="2025-02-08T13:42:37.967" v="1052" actId="478"/>
        <pc:sldMkLst>
          <pc:docMk/>
          <pc:sldMk cId="1687146237" sldId="2147483265"/>
        </pc:sldMkLst>
      </pc:sldChg>
      <pc:sldChg chg="addSp modSp mod">
        <pc:chgData name="Fadi Shafiq Qayed فادي شفيق القائد" userId="0a996b8d-3179-42b5-81f4-b5c8c93a4979" providerId="ADAL" clId="{68FDE589-36AA-44A0-AE57-B7972407D54F}" dt="2025-02-08T13:47:15.193" v="1209" actId="20577"/>
        <pc:sldMkLst>
          <pc:docMk/>
          <pc:sldMk cId="14303249" sldId="2147483268"/>
        </pc:sldMkLst>
        <pc:spChg chg="mod">
          <ac:chgData name="Fadi Shafiq Qayed فادي شفيق القائد" userId="0a996b8d-3179-42b5-81f4-b5c8c93a4979" providerId="ADAL" clId="{68FDE589-36AA-44A0-AE57-B7972407D54F}" dt="2025-02-08T13:47:15.193" v="1209" actId="20577"/>
          <ac:spMkLst>
            <pc:docMk/>
            <pc:sldMk cId="14303249" sldId="2147483268"/>
            <ac:spMk id="50" creationId="{A934FFF4-B00F-707E-BF93-DAD365FBE75B}"/>
          </ac:spMkLst>
        </pc:spChg>
        <pc:graphicFrameChg chg="mod modGraphic">
          <ac:chgData name="Fadi Shafiq Qayed فادي شفيق القائد" userId="0a996b8d-3179-42b5-81f4-b5c8c93a4979" providerId="ADAL" clId="{68FDE589-36AA-44A0-AE57-B7972407D54F}" dt="2025-02-08T13:45:54.082" v="1202" actId="20577"/>
          <ac:graphicFrameMkLst>
            <pc:docMk/>
            <pc:sldMk cId="14303249" sldId="2147483268"/>
            <ac:graphicFrameMk id="26" creationId="{296A2C64-CA7C-D772-85F0-189FC5FC9D82}"/>
          </ac:graphicFrameMkLst>
        </pc:graphicFrameChg>
        <pc:picChg chg="mod">
          <ac:chgData name="Fadi Shafiq Qayed فادي شفيق القائد" userId="0a996b8d-3179-42b5-81f4-b5c8c93a4979" providerId="ADAL" clId="{68FDE589-36AA-44A0-AE57-B7972407D54F}" dt="2025-02-08T13:43:58.095" v="1138" actId="1036"/>
          <ac:picMkLst>
            <pc:docMk/>
            <pc:sldMk cId="14303249" sldId="2147483268"/>
            <ac:picMk id="3" creationId="{8F6FC862-942F-127E-FF21-F0B32D05042A}"/>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5" creationId="{6CCFD2D7-CB0E-9732-BEB4-24C3DF5242FA}"/>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6" creationId="{0D168965-6021-7A8D-3445-E548E2BD6E9F}"/>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9" creationId="{E4762C3E-E70D-40DF-723C-A34C552F5C87}"/>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10" creationId="{747A65C7-02D4-AA8F-1C8C-CCC81EC1E525}"/>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11" creationId="{61C878F3-CC41-9C9A-9D42-F42D70151FA5}"/>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12" creationId="{7FE1EBE9-F10D-BCF5-DEFD-CE59D54733F4}"/>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13" creationId="{1C45410C-C120-6136-83D8-FFD87F655F49}"/>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14" creationId="{74037138-25D8-1789-0754-C0CB39CA0BD2}"/>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15" creationId="{67D12B50-D689-B109-98E9-0A6C7B6D16FB}"/>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16" creationId="{37D673A2-6E42-C28C-00F4-44556B5BF837}"/>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17" creationId="{E6A97ECD-4CCB-3A19-554C-77E7E2D26A0B}"/>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18" creationId="{A16CED3B-E63E-18D4-BE6A-C09B944F0DA3}"/>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19" creationId="{71AC1080-A6B5-8B4B-83F7-4CA0E843035B}"/>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20" creationId="{110C03F0-1075-A377-5BE3-15E2EB0EA937}"/>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21" creationId="{9CD9B219-644D-5139-86B8-D30CB6973866}"/>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22" creationId="{9B679FA5-5914-6942-881C-A68A382F9A92}"/>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23" creationId="{FFF5DCE0-AB36-F716-219A-C9F75C5313C6}"/>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24" creationId="{247A7552-C4EC-18EF-406A-BFE00FEA39B9}"/>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25" creationId="{830067DE-2C96-398B-A6E2-58DBEA64F31D}"/>
          </ac:picMkLst>
        </pc:picChg>
        <pc:picChg chg="add mod">
          <ac:chgData name="Fadi Shafiq Qayed فادي شفيق القائد" userId="0a996b8d-3179-42b5-81f4-b5c8c93a4979" providerId="ADAL" clId="{68FDE589-36AA-44A0-AE57-B7972407D54F}" dt="2025-02-08T13:44:36.486" v="1188" actId="1076"/>
          <ac:picMkLst>
            <pc:docMk/>
            <pc:sldMk cId="14303249" sldId="2147483268"/>
            <ac:picMk id="27" creationId="{EDF46AA3-C52C-C78F-0101-260A9545400D}"/>
          </ac:picMkLst>
        </pc:picChg>
        <pc:picChg chg="add mod">
          <ac:chgData name="Fadi Shafiq Qayed فادي شفيق القائد" userId="0a996b8d-3179-42b5-81f4-b5c8c93a4979" providerId="ADAL" clId="{68FDE589-36AA-44A0-AE57-B7972407D54F}" dt="2025-02-08T13:44:36.486" v="1188" actId="1076"/>
          <ac:picMkLst>
            <pc:docMk/>
            <pc:sldMk cId="14303249" sldId="2147483268"/>
            <ac:picMk id="28" creationId="{B1317130-7CE4-B8E2-01C7-4E8015071CDF}"/>
          </ac:picMkLst>
        </pc:picChg>
        <pc:picChg chg="mod">
          <ac:chgData name="Fadi Shafiq Qayed فادي شفيق القائد" userId="0a996b8d-3179-42b5-81f4-b5c8c93a4979" providerId="ADAL" clId="{68FDE589-36AA-44A0-AE57-B7972407D54F}" dt="2025-02-08T13:43:58.095" v="1138" actId="1036"/>
          <ac:picMkLst>
            <pc:docMk/>
            <pc:sldMk cId="14303249" sldId="2147483268"/>
            <ac:picMk id="49" creationId="{50896390-66AB-E6D3-0F4A-20D6BF4DB3EC}"/>
          </ac:picMkLst>
        </pc:picChg>
      </pc:sldChg>
      <pc:sldChg chg="addSp delSp modSp mod">
        <pc:chgData name="Fadi Shafiq Qayed فادي شفيق القائد" userId="0a996b8d-3179-42b5-81f4-b5c8c93a4979" providerId="ADAL" clId="{68FDE589-36AA-44A0-AE57-B7972407D54F}" dt="2025-02-09T05:18:02.110" v="2438" actId="20577"/>
        <pc:sldMkLst>
          <pc:docMk/>
          <pc:sldMk cId="3650285050" sldId="2147483269"/>
        </pc:sldMkLst>
        <pc:spChg chg="mod">
          <ac:chgData name="Fadi Shafiq Qayed فادي شفيق القائد" userId="0a996b8d-3179-42b5-81f4-b5c8c93a4979" providerId="ADAL" clId="{68FDE589-36AA-44A0-AE57-B7972407D54F}" dt="2025-02-09T05:17:50.143" v="2435" actId="6549"/>
          <ac:spMkLst>
            <pc:docMk/>
            <pc:sldMk cId="3650285050" sldId="2147483269"/>
            <ac:spMk id="19" creationId="{11E1E80C-9109-9D49-B118-CF7844A9A88D}"/>
          </ac:spMkLst>
        </pc:spChg>
        <pc:spChg chg="mod">
          <ac:chgData name="Fadi Shafiq Qayed فادي شفيق القائد" userId="0a996b8d-3179-42b5-81f4-b5c8c93a4979" providerId="ADAL" clId="{68FDE589-36AA-44A0-AE57-B7972407D54F}" dt="2025-02-09T05:18:02.110" v="2438" actId="20577"/>
          <ac:spMkLst>
            <pc:docMk/>
            <pc:sldMk cId="3650285050" sldId="2147483269"/>
            <ac:spMk id="20" creationId="{9D214E3F-49E9-DDC7-4C63-EF5C88FC143F}"/>
          </ac:spMkLst>
        </pc:spChg>
        <pc:graphicFrameChg chg="mod modGraphic">
          <ac:chgData name="Fadi Shafiq Qayed فادي شفيق القائد" userId="0a996b8d-3179-42b5-81f4-b5c8c93a4979" providerId="ADAL" clId="{68FDE589-36AA-44A0-AE57-B7972407D54F}" dt="2025-02-09T05:17:37.675" v="2432" actId="20577"/>
          <ac:graphicFrameMkLst>
            <pc:docMk/>
            <pc:sldMk cId="3650285050" sldId="2147483269"/>
            <ac:graphicFrameMk id="28" creationId="{65586AA4-ACC4-22DD-2087-1A260829F82B}"/>
          </ac:graphicFrameMkLst>
        </pc:graphicFrameChg>
        <pc:graphicFrameChg chg="modGraphic">
          <ac:chgData name="Fadi Shafiq Qayed فادي شفيق القائد" userId="0a996b8d-3179-42b5-81f4-b5c8c93a4979" providerId="ADAL" clId="{68FDE589-36AA-44A0-AE57-B7972407D54F}" dt="2025-02-08T13:43:57.467" v="1134" actId="2165"/>
          <ac:graphicFrameMkLst>
            <pc:docMk/>
            <pc:sldMk cId="3650285050" sldId="2147483269"/>
            <ac:graphicFrameMk id="36" creationId="{72EF4CBC-AC2F-DF02-C1E0-FC1ECF2A4717}"/>
          </ac:graphicFrameMkLst>
        </pc:graphicFrameChg>
        <pc:picChg chg="mod">
          <ac:chgData name="Fadi Shafiq Qayed فادي شفيق القائد" userId="0a996b8d-3179-42b5-81f4-b5c8c93a4979" providerId="ADAL" clId="{68FDE589-36AA-44A0-AE57-B7972407D54F}" dt="2025-02-08T13:43:58.001" v="1136" actId="1035"/>
          <ac:picMkLst>
            <pc:docMk/>
            <pc:sldMk cId="3650285050" sldId="2147483269"/>
            <ac:picMk id="43" creationId="{E8B05DB6-D23E-D7C2-7F90-B3CF4F062EC7}"/>
          </ac:picMkLst>
        </pc:picChg>
        <pc:picChg chg="mod">
          <ac:chgData name="Fadi Shafiq Qayed فادي شفيق القائد" userId="0a996b8d-3179-42b5-81f4-b5c8c93a4979" providerId="ADAL" clId="{68FDE589-36AA-44A0-AE57-B7972407D54F}" dt="2025-02-08T13:43:58.001" v="1136" actId="1035"/>
          <ac:picMkLst>
            <pc:docMk/>
            <pc:sldMk cId="3650285050" sldId="2147483269"/>
            <ac:picMk id="44" creationId="{60D975A8-B77E-0374-D755-962FEA646085}"/>
          </ac:picMkLst>
        </pc:picChg>
        <pc:picChg chg="mod">
          <ac:chgData name="Fadi Shafiq Qayed فادي شفيق القائد" userId="0a996b8d-3179-42b5-81f4-b5c8c93a4979" providerId="ADAL" clId="{68FDE589-36AA-44A0-AE57-B7972407D54F}" dt="2025-02-08T13:43:58.001" v="1136" actId="1035"/>
          <ac:picMkLst>
            <pc:docMk/>
            <pc:sldMk cId="3650285050" sldId="2147483269"/>
            <ac:picMk id="45" creationId="{A3EBCEC4-2131-EA00-5208-84AF4A3BF75D}"/>
          </ac:picMkLst>
        </pc:picChg>
        <pc:picChg chg="mod">
          <ac:chgData name="Fadi Shafiq Qayed فادي شفيق القائد" userId="0a996b8d-3179-42b5-81f4-b5c8c93a4979" providerId="ADAL" clId="{68FDE589-36AA-44A0-AE57-B7972407D54F}" dt="2025-02-08T13:43:58.001" v="1136" actId="1035"/>
          <ac:picMkLst>
            <pc:docMk/>
            <pc:sldMk cId="3650285050" sldId="2147483269"/>
            <ac:picMk id="46" creationId="{B97EC45C-2E2E-6BAE-B3F8-F84F288AC592}"/>
          </ac:picMkLst>
        </pc:picChg>
        <pc:picChg chg="mod">
          <ac:chgData name="Fadi Shafiq Qayed فادي شفيق القائد" userId="0a996b8d-3179-42b5-81f4-b5c8c93a4979" providerId="ADAL" clId="{68FDE589-36AA-44A0-AE57-B7972407D54F}" dt="2025-02-08T13:43:58.001" v="1136" actId="1035"/>
          <ac:picMkLst>
            <pc:docMk/>
            <pc:sldMk cId="3650285050" sldId="2147483269"/>
            <ac:picMk id="47" creationId="{68228134-F1B2-7C0C-A82F-C6F6CD79374F}"/>
          </ac:picMkLst>
        </pc:picChg>
      </pc:sldChg>
      <pc:sldChg chg="del">
        <pc:chgData name="Fadi Shafiq Qayed فادي شفيق القائد" userId="0a996b8d-3179-42b5-81f4-b5c8c93a4979" providerId="ADAL" clId="{68FDE589-36AA-44A0-AE57-B7972407D54F}" dt="2025-02-08T13:47:29.010" v="1211" actId="47"/>
        <pc:sldMkLst>
          <pc:docMk/>
          <pc:sldMk cId="4158096741" sldId="2147483272"/>
        </pc:sldMkLst>
      </pc:sldChg>
      <pc:sldChg chg="modSp mod">
        <pc:chgData name="Fadi Shafiq Qayed فادي شفيق القائد" userId="0a996b8d-3179-42b5-81f4-b5c8c93a4979" providerId="ADAL" clId="{68FDE589-36AA-44A0-AE57-B7972407D54F}" dt="2025-02-08T13:47:53.422" v="1225" actId="404"/>
        <pc:sldMkLst>
          <pc:docMk/>
          <pc:sldMk cId="1314409046" sldId="2147483273"/>
        </pc:sldMkLst>
      </pc:sldChg>
      <pc:sldChg chg="addSp modSp">
        <pc:chgData name="Fadi Shafiq Qayed فادي شفيق القائد" userId="0a996b8d-3179-42b5-81f4-b5c8c93a4979" providerId="ADAL" clId="{68FDE589-36AA-44A0-AE57-B7972407D54F}" dt="2025-02-08T14:18:02.851" v="1257"/>
        <pc:sldMkLst>
          <pc:docMk/>
          <pc:sldMk cId="184114879" sldId="2147483274"/>
        </pc:sldMkLst>
      </pc:sldChg>
      <pc:sldChg chg="del">
        <pc:chgData name="Fadi Shafiq Qayed فادي شفيق القائد" userId="0a996b8d-3179-42b5-81f4-b5c8c93a4979" providerId="ADAL" clId="{68FDE589-36AA-44A0-AE57-B7972407D54F}" dt="2025-02-08T06:49:47.118" v="0" actId="47"/>
        <pc:sldMkLst>
          <pc:docMk/>
          <pc:sldMk cId="2191595409" sldId="2147483284"/>
        </pc:sldMkLst>
      </pc:sldChg>
      <pc:sldChg chg="del">
        <pc:chgData name="Fadi Shafiq Qayed فادي شفيق القائد" userId="0a996b8d-3179-42b5-81f4-b5c8c93a4979" providerId="ADAL" clId="{68FDE589-36AA-44A0-AE57-B7972407D54F}" dt="2025-02-08T14:09:18.933" v="1246" actId="47"/>
        <pc:sldMkLst>
          <pc:docMk/>
          <pc:sldMk cId="306703834" sldId="2147483305"/>
        </pc:sldMkLst>
      </pc:sldChg>
      <pc:sldChg chg="del">
        <pc:chgData name="Fadi Shafiq Qayed فادي شفيق القائد" userId="0a996b8d-3179-42b5-81f4-b5c8c93a4979" providerId="ADAL" clId="{68FDE589-36AA-44A0-AE57-B7972407D54F}" dt="2025-02-08T14:09:51.946" v="1247" actId="47"/>
        <pc:sldMkLst>
          <pc:docMk/>
          <pc:sldMk cId="3610000686" sldId="2147483309"/>
        </pc:sldMkLst>
      </pc:sldChg>
      <pc:sldChg chg="del">
        <pc:chgData name="Fadi Shafiq Qayed فادي شفيق القائد" userId="0a996b8d-3179-42b5-81f4-b5c8c93a4979" providerId="ADAL" clId="{68FDE589-36AA-44A0-AE57-B7972407D54F}" dt="2025-02-08T14:09:52.449" v="1248" actId="47"/>
        <pc:sldMkLst>
          <pc:docMk/>
          <pc:sldMk cId="3526972464" sldId="2147483310"/>
        </pc:sldMkLst>
      </pc:sldChg>
      <pc:sldChg chg="del">
        <pc:chgData name="Fadi Shafiq Qayed فادي شفيق القائد" userId="0a996b8d-3179-42b5-81f4-b5c8c93a4979" providerId="ADAL" clId="{68FDE589-36AA-44A0-AE57-B7972407D54F}" dt="2025-02-08T14:09:52.754" v="1249" actId="47"/>
        <pc:sldMkLst>
          <pc:docMk/>
          <pc:sldMk cId="648475561" sldId="2147483311"/>
        </pc:sldMkLst>
      </pc:sldChg>
      <pc:sldChg chg="del">
        <pc:chgData name="Fadi Shafiq Qayed فادي شفيق القائد" userId="0a996b8d-3179-42b5-81f4-b5c8c93a4979" providerId="ADAL" clId="{68FDE589-36AA-44A0-AE57-B7972407D54F}" dt="2025-02-08T14:09:53.040" v="1250" actId="47"/>
        <pc:sldMkLst>
          <pc:docMk/>
          <pc:sldMk cId="911610875" sldId="2147483312"/>
        </pc:sldMkLst>
      </pc:sldChg>
      <pc:sldChg chg="del">
        <pc:chgData name="Fadi Shafiq Qayed فادي شفيق القائد" userId="0a996b8d-3179-42b5-81f4-b5c8c93a4979" providerId="ADAL" clId="{68FDE589-36AA-44A0-AE57-B7972407D54F}" dt="2025-02-08T14:09:53.316" v="1251" actId="47"/>
        <pc:sldMkLst>
          <pc:docMk/>
          <pc:sldMk cId="2962598238" sldId="2147483313"/>
        </pc:sldMkLst>
      </pc:sldChg>
      <pc:sldChg chg="del">
        <pc:chgData name="Fadi Shafiq Qayed فادي شفيق القائد" userId="0a996b8d-3179-42b5-81f4-b5c8c93a4979" providerId="ADAL" clId="{68FDE589-36AA-44A0-AE57-B7972407D54F}" dt="2025-02-08T14:09:53.542" v="1252" actId="47"/>
        <pc:sldMkLst>
          <pc:docMk/>
          <pc:sldMk cId="732534617" sldId="2147483314"/>
        </pc:sldMkLst>
      </pc:sldChg>
      <pc:sldChg chg="del">
        <pc:chgData name="Fadi Shafiq Qayed فادي شفيق القائد" userId="0a996b8d-3179-42b5-81f4-b5c8c93a4979" providerId="ADAL" clId="{68FDE589-36AA-44A0-AE57-B7972407D54F}" dt="2025-02-08T14:09:53.825" v="1253" actId="47"/>
        <pc:sldMkLst>
          <pc:docMk/>
          <pc:sldMk cId="3440657380" sldId="2147483315"/>
        </pc:sldMkLst>
      </pc:sldChg>
      <pc:sldChg chg="del">
        <pc:chgData name="Fadi Shafiq Qayed فادي شفيق القائد" userId="0a996b8d-3179-42b5-81f4-b5c8c93a4979" providerId="ADAL" clId="{68FDE589-36AA-44A0-AE57-B7972407D54F}" dt="2025-02-08T14:09:54.086" v="1254" actId="47"/>
        <pc:sldMkLst>
          <pc:docMk/>
          <pc:sldMk cId="3716967246" sldId="2147483316"/>
        </pc:sldMkLst>
      </pc:sldChg>
      <pc:sldChg chg="del">
        <pc:chgData name="Fadi Shafiq Qayed فادي شفيق القائد" userId="0a996b8d-3179-42b5-81f4-b5c8c93a4979" providerId="ADAL" clId="{68FDE589-36AA-44A0-AE57-B7972407D54F}" dt="2025-02-08T14:09:54.451" v="1255" actId="47"/>
        <pc:sldMkLst>
          <pc:docMk/>
          <pc:sldMk cId="1985787746" sldId="2147483317"/>
        </pc:sldMkLst>
      </pc:sldChg>
      <pc:sldChg chg="addSp delSp modSp add mod">
        <pc:chgData name="Fadi Shafiq Qayed فادي شفيق القائد" userId="0a996b8d-3179-42b5-81f4-b5c8c93a4979" providerId="ADAL" clId="{68FDE589-36AA-44A0-AE57-B7972407D54F}" dt="2025-02-08T14:20:03.218" v="1351" actId="2711"/>
        <pc:sldMkLst>
          <pc:docMk/>
          <pc:sldMk cId="2850384585" sldId="2147483340"/>
        </pc:sldMkLst>
      </pc:sldChg>
      <pc:sldChg chg="modSp add mod">
        <pc:chgData name="Fadi Shafiq Qayed فادي شفيق القائد" userId="0a996b8d-3179-42b5-81f4-b5c8c93a4979" providerId="ADAL" clId="{68FDE589-36AA-44A0-AE57-B7972407D54F}" dt="2025-02-08T16:58:15.657" v="2426" actId="20577"/>
        <pc:sldMkLst>
          <pc:docMk/>
          <pc:sldMk cId="4221033835" sldId="2147483341"/>
        </pc:sldMkLst>
      </pc:sldChg>
      <pc:sldChg chg="delSp modSp add mod">
        <pc:chgData name="Fadi Shafiq Qayed فادي شفيق القائد" userId="0a996b8d-3179-42b5-81f4-b5c8c93a4979" providerId="ADAL" clId="{68FDE589-36AA-44A0-AE57-B7972407D54F}" dt="2025-02-08T14:35:12.549" v="1907" actId="1035"/>
        <pc:sldMkLst>
          <pc:docMk/>
          <pc:sldMk cId="2778728071" sldId="2147483342"/>
        </pc:sldMkLst>
      </pc:sldChg>
      <pc:sldChg chg="modSp add del mod">
        <pc:chgData name="Fadi Shafiq Qayed فادي شفيق القائد" userId="0a996b8d-3179-42b5-81f4-b5c8c93a4979" providerId="ADAL" clId="{68FDE589-36AA-44A0-AE57-B7972407D54F}" dt="2025-02-08T15:13:16.628" v="2164" actId="47"/>
        <pc:sldMkLst>
          <pc:docMk/>
          <pc:sldMk cId="3611763528" sldId="2147483343"/>
        </pc:sldMkLst>
      </pc:sldChg>
      <pc:sldChg chg="addSp modSp add mod">
        <pc:chgData name="Fadi Shafiq Qayed فادي شفيق القائد" userId="0a996b8d-3179-42b5-81f4-b5c8c93a4979" providerId="ADAL" clId="{68FDE589-36AA-44A0-AE57-B7972407D54F}" dt="2025-02-08T15:15:15.323" v="2275" actId="120"/>
        <pc:sldMkLst>
          <pc:docMk/>
          <pc:sldMk cId="2097486334" sldId="2147483344"/>
        </pc:sldMkLst>
      </pc:sldChg>
      <pc:sldChg chg="modSp add del mod">
        <pc:chgData name="Fadi Shafiq Qayed فادي شفيق القائد" userId="0a996b8d-3179-42b5-81f4-b5c8c93a4979" providerId="ADAL" clId="{68FDE589-36AA-44A0-AE57-B7972407D54F}" dt="2025-02-08T15:14:48.088" v="2267" actId="47"/>
        <pc:sldMkLst>
          <pc:docMk/>
          <pc:sldMk cId="3125894918" sldId="2147483345"/>
        </pc:sldMkLst>
      </pc:sldChg>
      <pc:sldChg chg="addSp modSp add mod">
        <pc:chgData name="Fadi Shafiq Qayed فادي شفيق القائد" userId="0a996b8d-3179-42b5-81f4-b5c8c93a4979" providerId="ADAL" clId="{68FDE589-36AA-44A0-AE57-B7972407D54F}" dt="2025-02-08T14:21:42.337" v="1560" actId="20577"/>
        <pc:sldMkLst>
          <pc:docMk/>
          <pc:sldMk cId="4134399019" sldId="2147483347"/>
        </pc:sldMkLst>
      </pc:sldChg>
      <pc:sldChg chg="delSp modSp add mod">
        <pc:chgData name="Fadi Shafiq Qayed فادي شفيق القائد" userId="0a996b8d-3179-42b5-81f4-b5c8c93a4979" providerId="ADAL" clId="{68FDE589-36AA-44A0-AE57-B7972407D54F}" dt="2025-02-08T14:22:23.053" v="1591" actId="478"/>
        <pc:sldMkLst>
          <pc:docMk/>
          <pc:sldMk cId="47970752" sldId="2147483348"/>
        </pc:sldMkLst>
      </pc:sldChg>
      <pc:sldChg chg="addSp modSp add mod">
        <pc:chgData name="Fadi Shafiq Qayed فادي شفيق القائد" userId="0a996b8d-3179-42b5-81f4-b5c8c93a4979" providerId="ADAL" clId="{68FDE589-36AA-44A0-AE57-B7972407D54F}" dt="2025-02-08T15:12:54.225" v="2162" actId="1035"/>
        <pc:sldMkLst>
          <pc:docMk/>
          <pc:sldMk cId="435855392" sldId="2147483349"/>
        </pc:sldMkLst>
      </pc:sldChg>
      <pc:sldChg chg="addSp modSp add mod">
        <pc:chgData name="Fadi Shafiq Qayed فادي شفيق القائد" userId="0a996b8d-3179-42b5-81f4-b5c8c93a4979" providerId="ADAL" clId="{68FDE589-36AA-44A0-AE57-B7972407D54F}" dt="2025-02-08T15:14:53.994" v="2268" actId="1076"/>
        <pc:sldMkLst>
          <pc:docMk/>
          <pc:sldMk cId="742578349" sldId="2147483350"/>
        </pc:sldMkLst>
      </pc:sldChg>
      <pc:sldChg chg="addSp delSp modSp add mod">
        <pc:chgData name="Fadi Shafiq Qayed فادي شفيق القائد" userId="0a996b8d-3179-42b5-81f4-b5c8c93a4979" providerId="ADAL" clId="{68FDE589-36AA-44A0-AE57-B7972407D54F}" dt="2025-02-08T16:54:57.113" v="2341" actId="207"/>
        <pc:sldMkLst>
          <pc:docMk/>
          <pc:sldMk cId="2149878663" sldId="2147483351"/>
        </pc:sldMkLst>
        <pc:spChg chg="mod topLvl">
          <ac:chgData name="Fadi Shafiq Qayed فادي شفيق القائد" userId="0a996b8d-3179-42b5-81f4-b5c8c93a4979" providerId="ADAL" clId="{68FDE589-36AA-44A0-AE57-B7972407D54F}" dt="2025-02-08T16:54:57.113" v="2341" actId="207"/>
          <ac:spMkLst>
            <pc:docMk/>
            <pc:sldMk cId="2149878663" sldId="2147483351"/>
            <ac:spMk id="5" creationId="{65B37FC4-70E7-5A1B-CEBC-A9A51BF9AE5A}"/>
          </ac:spMkLst>
        </pc:spChg>
        <pc:spChg chg="mod topLvl">
          <ac:chgData name="Fadi Shafiq Qayed فادي شفيق القائد" userId="0a996b8d-3179-42b5-81f4-b5c8c93a4979" providerId="ADAL" clId="{68FDE589-36AA-44A0-AE57-B7972407D54F}" dt="2025-02-08T16:54:44.537" v="2336" actId="207"/>
          <ac:spMkLst>
            <pc:docMk/>
            <pc:sldMk cId="2149878663" sldId="2147483351"/>
            <ac:spMk id="9" creationId="{66F1F935-312E-615A-C623-B2F8FBED9ABA}"/>
          </ac:spMkLst>
        </pc:spChg>
        <pc:spChg chg="mod">
          <ac:chgData name="Fadi Shafiq Qayed فادي شفيق القائد" userId="0a996b8d-3179-42b5-81f4-b5c8c93a4979" providerId="ADAL" clId="{68FDE589-36AA-44A0-AE57-B7972407D54F}" dt="2025-02-08T16:54:42.467" v="2335" actId="1076"/>
          <ac:spMkLst>
            <pc:docMk/>
            <pc:sldMk cId="2149878663" sldId="2147483351"/>
            <ac:spMk id="15" creationId="{503E614F-C324-7956-CA4F-247B5DDD820B}"/>
          </ac:spMkLst>
        </pc:spChg>
        <pc:spChg chg="mod">
          <ac:chgData name="Fadi Shafiq Qayed فادي شفيق القائد" userId="0a996b8d-3179-42b5-81f4-b5c8c93a4979" providerId="ADAL" clId="{68FDE589-36AA-44A0-AE57-B7972407D54F}" dt="2025-02-08T16:54:42.467" v="2335" actId="1076"/>
          <ac:spMkLst>
            <pc:docMk/>
            <pc:sldMk cId="2149878663" sldId="2147483351"/>
            <ac:spMk id="16" creationId="{A6F381A7-735D-703B-9741-674061E3CBA3}"/>
          </ac:spMkLst>
        </pc:spChg>
        <pc:spChg chg="mod topLvl">
          <ac:chgData name="Fadi Shafiq Qayed فادي شفيق القائد" userId="0a996b8d-3179-42b5-81f4-b5c8c93a4979" providerId="ADAL" clId="{68FDE589-36AA-44A0-AE57-B7972407D54F}" dt="2025-02-08T16:54:57.113" v="2341" actId="207"/>
          <ac:spMkLst>
            <pc:docMk/>
            <pc:sldMk cId="2149878663" sldId="2147483351"/>
            <ac:spMk id="18" creationId="{9651924C-CB3E-FA96-C086-F69CCAD1F1EB}"/>
          </ac:spMkLst>
        </pc:spChg>
        <pc:spChg chg="mod topLvl">
          <ac:chgData name="Fadi Shafiq Qayed فادي شفيق القائد" userId="0a996b8d-3179-42b5-81f4-b5c8c93a4979" providerId="ADAL" clId="{68FDE589-36AA-44A0-AE57-B7972407D54F}" dt="2025-02-08T16:54:50.516" v="2339" actId="207"/>
          <ac:spMkLst>
            <pc:docMk/>
            <pc:sldMk cId="2149878663" sldId="2147483351"/>
            <ac:spMk id="20" creationId="{582576DF-DD50-FF60-5F49-2CE54072CE17}"/>
          </ac:spMkLst>
        </pc:spChg>
        <pc:spChg chg="mod">
          <ac:chgData name="Fadi Shafiq Qayed فادي شفيق القائد" userId="0a996b8d-3179-42b5-81f4-b5c8c93a4979" providerId="ADAL" clId="{68FDE589-36AA-44A0-AE57-B7972407D54F}" dt="2025-02-08T16:54:42.467" v="2335" actId="1076"/>
          <ac:spMkLst>
            <pc:docMk/>
            <pc:sldMk cId="2149878663" sldId="2147483351"/>
            <ac:spMk id="22" creationId="{00C06DD4-66E2-578A-F2DE-41082AEBA30F}"/>
          </ac:spMkLst>
        </pc:spChg>
        <pc:spChg chg="mod">
          <ac:chgData name="Fadi Shafiq Qayed فادي شفيق القائد" userId="0a996b8d-3179-42b5-81f4-b5c8c93a4979" providerId="ADAL" clId="{68FDE589-36AA-44A0-AE57-B7972407D54F}" dt="2025-02-08T16:54:42.467" v="2335" actId="1076"/>
          <ac:spMkLst>
            <pc:docMk/>
            <pc:sldMk cId="2149878663" sldId="2147483351"/>
            <ac:spMk id="23" creationId="{D99BD334-2505-27F6-F229-298C47E5F7C5}"/>
          </ac:spMkLst>
        </pc:spChg>
        <pc:spChg chg="mod topLvl">
          <ac:chgData name="Fadi Shafiq Qayed فادي شفيق القائد" userId="0a996b8d-3179-42b5-81f4-b5c8c93a4979" providerId="ADAL" clId="{68FDE589-36AA-44A0-AE57-B7972407D54F}" dt="2025-02-08T16:54:57.113" v="2341" actId="207"/>
          <ac:spMkLst>
            <pc:docMk/>
            <pc:sldMk cId="2149878663" sldId="2147483351"/>
            <ac:spMk id="25" creationId="{B733BD1C-C62C-6B44-D6D8-1EF8AE3686B6}"/>
          </ac:spMkLst>
        </pc:spChg>
        <pc:spChg chg="mod topLvl">
          <ac:chgData name="Fadi Shafiq Qayed فادي شفيق القائد" userId="0a996b8d-3179-42b5-81f4-b5c8c93a4979" providerId="ADAL" clId="{68FDE589-36AA-44A0-AE57-B7972407D54F}" dt="2025-02-08T16:54:46.705" v="2337" actId="207"/>
          <ac:spMkLst>
            <pc:docMk/>
            <pc:sldMk cId="2149878663" sldId="2147483351"/>
            <ac:spMk id="27" creationId="{FDBF06EE-81B0-EDE9-3029-58814042A888}"/>
          </ac:spMkLst>
        </pc:spChg>
        <pc:spChg chg="mod">
          <ac:chgData name="Fadi Shafiq Qayed فادي شفيق القائد" userId="0a996b8d-3179-42b5-81f4-b5c8c93a4979" providerId="ADAL" clId="{68FDE589-36AA-44A0-AE57-B7972407D54F}" dt="2025-02-08T16:54:42.467" v="2335" actId="1076"/>
          <ac:spMkLst>
            <pc:docMk/>
            <pc:sldMk cId="2149878663" sldId="2147483351"/>
            <ac:spMk id="29" creationId="{D1250300-0630-DB61-9250-025A8C381DAF}"/>
          </ac:spMkLst>
        </pc:spChg>
        <pc:spChg chg="mod">
          <ac:chgData name="Fadi Shafiq Qayed فادي شفيق القائد" userId="0a996b8d-3179-42b5-81f4-b5c8c93a4979" providerId="ADAL" clId="{68FDE589-36AA-44A0-AE57-B7972407D54F}" dt="2025-02-08T16:54:42.467" v="2335" actId="1076"/>
          <ac:spMkLst>
            <pc:docMk/>
            <pc:sldMk cId="2149878663" sldId="2147483351"/>
            <ac:spMk id="30" creationId="{5A739370-091F-2157-C34C-22DF10243DDE}"/>
          </ac:spMkLst>
        </pc:spChg>
        <pc:spChg chg="mod">
          <ac:chgData name="Fadi Shafiq Qayed فادي شفيق القائد" userId="0a996b8d-3179-42b5-81f4-b5c8c93a4979" providerId="ADAL" clId="{68FDE589-36AA-44A0-AE57-B7972407D54F}" dt="2025-02-08T16:53:24.799" v="2326" actId="20577"/>
          <ac:spMkLst>
            <pc:docMk/>
            <pc:sldMk cId="2149878663" sldId="2147483351"/>
            <ac:spMk id="31" creationId="{42485E1A-FB4D-C1C4-830E-7C866E5B58AD}"/>
          </ac:spMkLst>
        </pc:spChg>
        <pc:spChg chg="mod topLvl">
          <ac:chgData name="Fadi Shafiq Qayed فادي شفيق القائد" userId="0a996b8d-3179-42b5-81f4-b5c8c93a4979" providerId="ADAL" clId="{68FDE589-36AA-44A0-AE57-B7972407D54F}" dt="2025-02-08T16:54:57.113" v="2341" actId="207"/>
          <ac:spMkLst>
            <pc:docMk/>
            <pc:sldMk cId="2149878663" sldId="2147483351"/>
            <ac:spMk id="33" creationId="{8636FC47-CA6C-32F2-EE98-D492679931C1}"/>
          </ac:spMkLst>
        </pc:spChg>
        <pc:spChg chg="mod topLvl">
          <ac:chgData name="Fadi Shafiq Qayed فادي شفيق القائد" userId="0a996b8d-3179-42b5-81f4-b5c8c93a4979" providerId="ADAL" clId="{68FDE589-36AA-44A0-AE57-B7972407D54F}" dt="2025-02-08T16:54:48.576" v="2338" actId="207"/>
          <ac:spMkLst>
            <pc:docMk/>
            <pc:sldMk cId="2149878663" sldId="2147483351"/>
            <ac:spMk id="35" creationId="{01D8797E-0ABC-31D4-B4C0-87079B4C4FA1}"/>
          </ac:spMkLst>
        </pc:spChg>
        <pc:spChg chg="mod">
          <ac:chgData name="Fadi Shafiq Qayed فادي شفيق القائد" userId="0a996b8d-3179-42b5-81f4-b5c8c93a4979" providerId="ADAL" clId="{68FDE589-36AA-44A0-AE57-B7972407D54F}" dt="2025-02-08T16:54:42.467" v="2335" actId="1076"/>
          <ac:spMkLst>
            <pc:docMk/>
            <pc:sldMk cId="2149878663" sldId="2147483351"/>
            <ac:spMk id="37" creationId="{9CC103D8-3C61-0E1F-B7CC-64BBFE7BD302}"/>
          </ac:spMkLst>
        </pc:spChg>
        <pc:spChg chg="mod">
          <ac:chgData name="Fadi Shafiq Qayed فادي شفيق القائد" userId="0a996b8d-3179-42b5-81f4-b5c8c93a4979" providerId="ADAL" clId="{68FDE589-36AA-44A0-AE57-B7972407D54F}" dt="2025-02-08T16:54:42.467" v="2335" actId="1076"/>
          <ac:spMkLst>
            <pc:docMk/>
            <pc:sldMk cId="2149878663" sldId="2147483351"/>
            <ac:spMk id="38" creationId="{17090867-9C80-839B-D99B-A0AEE203DA25}"/>
          </ac:spMkLst>
        </pc:spChg>
        <pc:spChg chg="mod topLvl">
          <ac:chgData name="Fadi Shafiq Qayed فادي شفيق القائد" userId="0a996b8d-3179-42b5-81f4-b5c8c93a4979" providerId="ADAL" clId="{68FDE589-36AA-44A0-AE57-B7972407D54F}" dt="2025-02-08T16:54:57.113" v="2341" actId="207"/>
          <ac:spMkLst>
            <pc:docMk/>
            <pc:sldMk cId="2149878663" sldId="2147483351"/>
            <ac:spMk id="40" creationId="{B1A0EA1B-C137-F6F6-9D99-652B3867965C}"/>
          </ac:spMkLst>
        </pc:spChg>
        <pc:spChg chg="mod topLvl">
          <ac:chgData name="Fadi Shafiq Qayed فادي شفيق القائد" userId="0a996b8d-3179-42b5-81f4-b5c8c93a4979" providerId="ADAL" clId="{68FDE589-36AA-44A0-AE57-B7972407D54F}" dt="2025-02-08T16:54:52.979" v="2340" actId="207"/>
          <ac:spMkLst>
            <pc:docMk/>
            <pc:sldMk cId="2149878663" sldId="2147483351"/>
            <ac:spMk id="42" creationId="{EA527156-39B1-9767-0A76-A1498E5922AD}"/>
          </ac:spMkLst>
        </pc:spChg>
        <pc:spChg chg="mod">
          <ac:chgData name="Fadi Shafiq Qayed فادي شفيق القائد" userId="0a996b8d-3179-42b5-81f4-b5c8c93a4979" providerId="ADAL" clId="{68FDE589-36AA-44A0-AE57-B7972407D54F}" dt="2025-02-08T16:54:42.467" v="2335" actId="1076"/>
          <ac:spMkLst>
            <pc:docMk/>
            <pc:sldMk cId="2149878663" sldId="2147483351"/>
            <ac:spMk id="44" creationId="{0D918057-2D86-00BF-7C40-7BA8943431CF}"/>
          </ac:spMkLst>
        </pc:spChg>
        <pc:spChg chg="mod">
          <ac:chgData name="Fadi Shafiq Qayed فادي شفيق القائد" userId="0a996b8d-3179-42b5-81f4-b5c8c93a4979" providerId="ADAL" clId="{68FDE589-36AA-44A0-AE57-B7972407D54F}" dt="2025-02-08T16:54:42.467" v="2335" actId="1076"/>
          <ac:spMkLst>
            <pc:docMk/>
            <pc:sldMk cId="2149878663" sldId="2147483351"/>
            <ac:spMk id="45" creationId="{4B24A7D0-193C-4189-9C5F-281276F36FFF}"/>
          </ac:spMkLst>
        </pc:spChg>
        <pc:grpChg chg="mod topLvl">
          <ac:chgData name="Fadi Shafiq Qayed فادي شفيق القائد" userId="0a996b8d-3179-42b5-81f4-b5c8c93a4979" providerId="ADAL" clId="{68FDE589-36AA-44A0-AE57-B7972407D54F}" dt="2025-02-08T16:54:42.467" v="2335" actId="1076"/>
          <ac:grpSpMkLst>
            <pc:docMk/>
            <pc:sldMk cId="2149878663" sldId="2147483351"/>
            <ac:grpSpMk id="10" creationId="{E1688CE4-158A-01E4-97C9-52DCDB5FDCBD}"/>
          </ac:grpSpMkLst>
        </pc:grpChg>
        <pc:grpChg chg="mod topLvl">
          <ac:chgData name="Fadi Shafiq Qayed فادي شفيق القائد" userId="0a996b8d-3179-42b5-81f4-b5c8c93a4979" providerId="ADAL" clId="{68FDE589-36AA-44A0-AE57-B7972407D54F}" dt="2025-02-08T16:54:42.467" v="2335" actId="1076"/>
          <ac:grpSpMkLst>
            <pc:docMk/>
            <pc:sldMk cId="2149878663" sldId="2147483351"/>
            <ac:grpSpMk id="21" creationId="{8EAD855A-D479-DA0F-1AC3-9633F62E93D3}"/>
          </ac:grpSpMkLst>
        </pc:grpChg>
        <pc:grpChg chg="mod topLvl">
          <ac:chgData name="Fadi Shafiq Qayed فادي شفيق القائد" userId="0a996b8d-3179-42b5-81f4-b5c8c93a4979" providerId="ADAL" clId="{68FDE589-36AA-44A0-AE57-B7972407D54F}" dt="2025-02-08T16:54:42.467" v="2335" actId="1076"/>
          <ac:grpSpMkLst>
            <pc:docMk/>
            <pc:sldMk cId="2149878663" sldId="2147483351"/>
            <ac:grpSpMk id="28" creationId="{A2DACA6F-1A70-19A7-A67B-C1FB86857C2A}"/>
          </ac:grpSpMkLst>
        </pc:grpChg>
        <pc:grpChg chg="mod topLvl">
          <ac:chgData name="Fadi Shafiq Qayed فادي شفيق القائد" userId="0a996b8d-3179-42b5-81f4-b5c8c93a4979" providerId="ADAL" clId="{68FDE589-36AA-44A0-AE57-B7972407D54F}" dt="2025-02-08T16:54:42.467" v="2335" actId="1076"/>
          <ac:grpSpMkLst>
            <pc:docMk/>
            <pc:sldMk cId="2149878663" sldId="2147483351"/>
            <ac:grpSpMk id="36" creationId="{5FC25A13-D13B-37C3-470B-FE8DCF176E3F}"/>
          </ac:grpSpMkLst>
        </pc:grpChg>
        <pc:grpChg chg="mod topLvl">
          <ac:chgData name="Fadi Shafiq Qayed فادي شفيق القائد" userId="0a996b8d-3179-42b5-81f4-b5c8c93a4979" providerId="ADAL" clId="{68FDE589-36AA-44A0-AE57-B7972407D54F}" dt="2025-02-08T16:54:42.467" v="2335" actId="1076"/>
          <ac:grpSpMkLst>
            <pc:docMk/>
            <pc:sldMk cId="2149878663" sldId="2147483351"/>
            <ac:grpSpMk id="43" creationId="{10F8595C-939A-9638-A093-C2F8C4ABCC37}"/>
          </ac:grpSpMkLst>
        </pc:grpChg>
      </pc:sldChg>
      <pc:sldMasterChg chg="addSldLayout delSldLayout">
        <pc:chgData name="Fadi Shafiq Qayed فادي شفيق القائد" userId="0a996b8d-3179-42b5-81f4-b5c8c93a4979" providerId="ADAL" clId="{68FDE589-36AA-44A0-AE57-B7972407D54F}" dt="2025-02-08T13:47:56.037" v="1226" actId="47"/>
        <pc:sldMasterMkLst>
          <pc:docMk/>
          <pc:sldMasterMk cId="172480484" sldId="2147483694"/>
        </pc:sldMasterMkLst>
        <pc:sldLayoutChg chg="add del">
          <pc:chgData name="Fadi Shafiq Qayed فادي شفيق القائد" userId="0a996b8d-3179-42b5-81f4-b5c8c93a4979" providerId="ADAL" clId="{68FDE589-36AA-44A0-AE57-B7972407D54F}" dt="2025-02-08T13:47:56.037" v="1226" actId="47"/>
          <pc:sldLayoutMkLst>
            <pc:docMk/>
            <pc:sldMasterMk cId="172480484" sldId="2147483694"/>
            <pc:sldLayoutMk cId="1568751869" sldId="2147483710"/>
          </pc:sldLayoutMkLst>
        </pc:sldLayoutChg>
      </pc:sldMasterChg>
    </pc:docChg>
  </pc:docChgLst>
  <pc:docChgLst>
    <pc:chgData name="Zainab Hasan Alhammadi زينب حسن الحمادي" userId="e5ea3ead-5cfb-4685-8d1d-bf28404dc0c4" providerId="ADAL" clId="{7D6482DB-5D8D-4A82-8A0C-266FA76E1F3E}"/>
    <pc:docChg chg="undo redo custSel addSld delSld modSld sldOrd addSection delSection modSection">
      <pc:chgData name="Zainab Hasan Alhammadi زينب حسن الحمادي" userId="e5ea3ead-5cfb-4685-8d1d-bf28404dc0c4" providerId="ADAL" clId="{7D6482DB-5D8D-4A82-8A0C-266FA76E1F3E}" dt="2025-02-07T11:19:39.323" v="3744" actId="20577"/>
      <pc:docMkLst>
        <pc:docMk/>
      </pc:docMkLst>
      <pc:sldChg chg="modSp mod">
        <pc:chgData name="Zainab Hasan Alhammadi زينب حسن الحمادي" userId="e5ea3ead-5cfb-4685-8d1d-bf28404dc0c4" providerId="ADAL" clId="{7D6482DB-5D8D-4A82-8A0C-266FA76E1F3E}" dt="2025-02-07T11:19:39.323" v="3744" actId="20577"/>
        <pc:sldMkLst>
          <pc:docMk/>
          <pc:sldMk cId="2797184016" sldId="2147483217"/>
        </pc:sldMkLst>
      </pc:sldChg>
      <pc:sldChg chg="add del">
        <pc:chgData name="Zainab Hasan Alhammadi زينب حسن الحمادي" userId="e5ea3ead-5cfb-4685-8d1d-bf28404dc0c4" providerId="ADAL" clId="{7D6482DB-5D8D-4A82-8A0C-266FA76E1F3E}" dt="2025-02-07T11:17:58.740" v="3735" actId="2696"/>
        <pc:sldMkLst>
          <pc:docMk/>
          <pc:sldMk cId="382724310" sldId="2147483252"/>
        </pc:sldMkLst>
      </pc:sldChg>
      <pc:sldChg chg="add del">
        <pc:chgData name="Zainab Hasan Alhammadi زينب حسن الحمادي" userId="e5ea3ead-5cfb-4685-8d1d-bf28404dc0c4" providerId="ADAL" clId="{7D6482DB-5D8D-4A82-8A0C-266FA76E1F3E}" dt="2025-02-07T11:18:54.821" v="3738"/>
        <pc:sldMkLst>
          <pc:docMk/>
          <pc:sldMk cId="583888254" sldId="2147483252"/>
        </pc:sldMkLst>
      </pc:sldChg>
      <pc:sldChg chg="modSp del mod">
        <pc:chgData name="Zainab Hasan Alhammadi زينب حسن الحمادي" userId="e5ea3ead-5cfb-4685-8d1d-bf28404dc0c4" providerId="ADAL" clId="{7D6482DB-5D8D-4A82-8A0C-266FA76E1F3E}" dt="2025-02-07T06:08:07.179" v="3679" actId="2696"/>
        <pc:sldMkLst>
          <pc:docMk/>
          <pc:sldMk cId="1538621196" sldId="2147483252"/>
        </pc:sldMkLst>
      </pc:sldChg>
      <pc:sldChg chg="add">
        <pc:chgData name="Zainab Hasan Alhammadi زينب حسن الحمادي" userId="e5ea3ead-5cfb-4685-8d1d-bf28404dc0c4" providerId="ADAL" clId="{7D6482DB-5D8D-4A82-8A0C-266FA76E1F3E}" dt="2025-02-07T11:19:17.084" v="3739"/>
        <pc:sldMkLst>
          <pc:docMk/>
          <pc:sldMk cId="2478802502" sldId="2147483252"/>
        </pc:sldMkLst>
      </pc:sldChg>
      <pc:sldChg chg="add del ord">
        <pc:chgData name="Zainab Hasan Alhammadi زينب حسن الحمادي" userId="e5ea3ead-5cfb-4685-8d1d-bf28404dc0c4" providerId="ADAL" clId="{7D6482DB-5D8D-4A82-8A0C-266FA76E1F3E}" dt="2025-02-06T10:37:36.010" v="61" actId="47"/>
        <pc:sldMkLst>
          <pc:docMk/>
          <pc:sldMk cId="1621257277" sldId="2147483253"/>
        </pc:sldMkLst>
      </pc:sldChg>
      <pc:sldChg chg="del ord">
        <pc:chgData name="Zainab Hasan Alhammadi زينب حسن الحمادي" userId="e5ea3ead-5cfb-4685-8d1d-bf28404dc0c4" providerId="ADAL" clId="{7D6482DB-5D8D-4A82-8A0C-266FA76E1F3E}" dt="2025-02-06T10:39:23.819" v="76" actId="47"/>
        <pc:sldMkLst>
          <pc:docMk/>
          <pc:sldMk cId="1521910186" sldId="2147483254"/>
        </pc:sldMkLst>
      </pc:sldChg>
      <pc:sldChg chg="del ord">
        <pc:chgData name="Zainab Hasan Alhammadi زينب حسن الحمادي" userId="e5ea3ead-5cfb-4685-8d1d-bf28404dc0c4" providerId="ADAL" clId="{7D6482DB-5D8D-4A82-8A0C-266FA76E1F3E}" dt="2025-02-06T10:40:40.988" v="93" actId="47"/>
        <pc:sldMkLst>
          <pc:docMk/>
          <pc:sldMk cId="2580406731" sldId="2147483255"/>
        </pc:sldMkLst>
      </pc:sldChg>
      <pc:sldChg chg="del ord">
        <pc:chgData name="Zainab Hasan Alhammadi زينب حسن الحمادي" userId="e5ea3ead-5cfb-4685-8d1d-bf28404dc0c4" providerId="ADAL" clId="{7D6482DB-5D8D-4A82-8A0C-266FA76E1F3E}" dt="2025-02-06T10:41:48.302" v="104" actId="47"/>
        <pc:sldMkLst>
          <pc:docMk/>
          <pc:sldMk cId="998476605" sldId="2147483256"/>
        </pc:sldMkLst>
      </pc:sldChg>
      <pc:sldChg chg="add del ord">
        <pc:chgData name="Zainab Hasan Alhammadi زينب حسن الحمادي" userId="e5ea3ead-5cfb-4685-8d1d-bf28404dc0c4" providerId="ADAL" clId="{7D6482DB-5D8D-4A82-8A0C-266FA76E1F3E}" dt="2025-02-06T10:44:04.813" v="117" actId="47"/>
        <pc:sldMkLst>
          <pc:docMk/>
          <pc:sldMk cId="2713796051" sldId="2147483257"/>
        </pc:sldMkLst>
      </pc:sldChg>
      <pc:sldChg chg="del">
        <pc:chgData name="Zainab Hasan Alhammadi زينب حسن الحمادي" userId="e5ea3ead-5cfb-4685-8d1d-bf28404dc0c4" providerId="ADAL" clId="{7D6482DB-5D8D-4A82-8A0C-266FA76E1F3E}" dt="2025-02-06T10:45:05.284" v="129" actId="47"/>
        <pc:sldMkLst>
          <pc:docMk/>
          <pc:sldMk cId="877654820" sldId="2147483258"/>
        </pc:sldMkLst>
      </pc:sldChg>
      <pc:sldChg chg="modSp mod">
        <pc:chgData name="Zainab Hasan Alhammadi زينب حسن الحمادي" userId="e5ea3ead-5cfb-4685-8d1d-bf28404dc0c4" providerId="ADAL" clId="{7D6482DB-5D8D-4A82-8A0C-266FA76E1F3E}" dt="2025-02-07T06:21:17.718" v="3730" actId="20577"/>
        <pc:sldMkLst>
          <pc:docMk/>
          <pc:sldMk cId="2684994726" sldId="2147483259"/>
        </pc:sldMkLst>
      </pc:sldChg>
      <pc:sldChg chg="addSp delSp modSp add mod">
        <pc:chgData name="Zainab Hasan Alhammadi زينب حسن الحمادي" userId="e5ea3ead-5cfb-4685-8d1d-bf28404dc0c4" providerId="ADAL" clId="{7D6482DB-5D8D-4A82-8A0C-266FA76E1F3E}" dt="2025-02-06T10:37:30.959" v="60" actId="20577"/>
        <pc:sldMkLst>
          <pc:docMk/>
          <pc:sldMk cId="1314409046" sldId="2147483273"/>
        </pc:sldMkLst>
      </pc:sldChg>
      <pc:sldChg chg="addSp delSp modSp add mod">
        <pc:chgData name="Zainab Hasan Alhammadi زينب حسن الحمادي" userId="e5ea3ead-5cfb-4685-8d1d-bf28404dc0c4" providerId="ADAL" clId="{7D6482DB-5D8D-4A82-8A0C-266FA76E1F3E}" dt="2025-02-06T10:39:16.462" v="75" actId="108"/>
        <pc:sldMkLst>
          <pc:docMk/>
          <pc:sldMk cId="184114879" sldId="2147483274"/>
        </pc:sldMkLst>
      </pc:sldChg>
      <pc:sldChg chg="addSp delSp modSp add mod ord">
        <pc:chgData name="Zainab Hasan Alhammadi زينب حسن الحمادي" userId="e5ea3ead-5cfb-4685-8d1d-bf28404dc0c4" providerId="ADAL" clId="{7D6482DB-5D8D-4A82-8A0C-266FA76E1F3E}" dt="2025-02-06T10:45:27.606" v="131"/>
        <pc:sldMkLst>
          <pc:docMk/>
          <pc:sldMk cId="3434194669" sldId="2147483275"/>
        </pc:sldMkLst>
      </pc:sldChg>
      <pc:sldChg chg="addSp delSp modSp add mod">
        <pc:chgData name="Zainab Hasan Alhammadi زينب حسن الحمادي" userId="e5ea3ead-5cfb-4685-8d1d-bf28404dc0c4" providerId="ADAL" clId="{7D6482DB-5D8D-4A82-8A0C-266FA76E1F3E}" dt="2025-02-06T10:43:44.638" v="114" actId="113"/>
        <pc:sldMkLst>
          <pc:docMk/>
          <pc:sldMk cId="1842288810" sldId="2147483276"/>
        </pc:sldMkLst>
        <pc:spChg chg="add mod">
          <ac:chgData name="Zainab Hasan Alhammadi زينب حسن الحمادي" userId="e5ea3ead-5cfb-4685-8d1d-bf28404dc0c4" providerId="ADAL" clId="{7D6482DB-5D8D-4A82-8A0C-266FA76E1F3E}" dt="2025-02-06T10:43:44.638" v="114" actId="113"/>
          <ac:spMkLst>
            <pc:docMk/>
            <pc:sldMk cId="1842288810" sldId="2147483276"/>
            <ac:spMk id="2" creationId="{CB690557-55BD-21BC-3882-D0BA295C11B2}"/>
          </ac:spMkLst>
        </pc:spChg>
        <pc:picChg chg="mod">
          <ac:chgData name="Zainab Hasan Alhammadi زينب حسن الحمادي" userId="e5ea3ead-5cfb-4685-8d1d-bf28404dc0c4" providerId="ADAL" clId="{7D6482DB-5D8D-4A82-8A0C-266FA76E1F3E}" dt="2025-02-06T10:42:59.078" v="108" actId="1076"/>
          <ac:picMkLst>
            <pc:docMk/>
            <pc:sldMk cId="1842288810" sldId="2147483276"/>
            <ac:picMk id="6" creationId="{CF4FB986-1954-3D07-C191-70429A670BEB}"/>
          </ac:picMkLst>
        </pc:picChg>
      </pc:sldChg>
      <pc:sldChg chg="addSp delSp modSp add mod">
        <pc:chgData name="Zainab Hasan Alhammadi زينب حسن الحمادي" userId="e5ea3ead-5cfb-4685-8d1d-bf28404dc0c4" providerId="ADAL" clId="{7D6482DB-5D8D-4A82-8A0C-266FA76E1F3E}" dt="2025-02-07T06:09:25.507" v="3702" actId="1076"/>
        <pc:sldMkLst>
          <pc:docMk/>
          <pc:sldMk cId="3958946941" sldId="2147483277"/>
        </pc:sldMkLst>
        <pc:spChg chg="add mod">
          <ac:chgData name="Zainab Hasan Alhammadi زينب حسن الحمادي" userId="e5ea3ead-5cfb-4685-8d1d-bf28404dc0c4" providerId="ADAL" clId="{7D6482DB-5D8D-4A82-8A0C-266FA76E1F3E}" dt="2025-02-06T10:45:00.096" v="128" actId="113"/>
          <ac:spMkLst>
            <pc:docMk/>
            <pc:sldMk cId="3958946941" sldId="2147483277"/>
            <ac:spMk id="2" creationId="{438DC16C-5B68-BC0D-EBEC-4FCBB2D31E67}"/>
          </ac:spMkLst>
        </pc:spChg>
        <pc:picChg chg="mod">
          <ac:chgData name="Zainab Hasan Alhammadi زينب حسن الحمادي" userId="e5ea3ead-5cfb-4685-8d1d-bf28404dc0c4" providerId="ADAL" clId="{7D6482DB-5D8D-4A82-8A0C-266FA76E1F3E}" dt="2025-02-07T06:09:25.507" v="3702" actId="1076"/>
          <ac:picMkLst>
            <pc:docMk/>
            <pc:sldMk cId="3958946941" sldId="2147483277"/>
            <ac:picMk id="9" creationId="{8CE9F4E3-C3F1-AADA-772D-AB662BDE7DDF}"/>
          </ac:picMkLst>
        </pc:picChg>
      </pc:sldChg>
      <pc:sldChg chg="addSp delSp modSp add mod ord">
        <pc:chgData name="Zainab Hasan Alhammadi زينب حسن الحمادي" userId="e5ea3ead-5cfb-4685-8d1d-bf28404dc0c4" providerId="ADAL" clId="{7D6482DB-5D8D-4A82-8A0C-266FA76E1F3E}" dt="2025-02-06T10:50:13.517" v="187" actId="1038"/>
        <pc:sldMkLst>
          <pc:docMk/>
          <pc:sldMk cId="552546083" sldId="2147483278"/>
        </pc:sldMkLst>
      </pc:sldChg>
      <pc:sldChg chg="addSp delSp modSp add mod ord">
        <pc:chgData name="Zainab Hasan Alhammadi زينب حسن الحمادي" userId="e5ea3ead-5cfb-4685-8d1d-bf28404dc0c4" providerId="ADAL" clId="{7D6482DB-5D8D-4A82-8A0C-266FA76E1F3E}" dt="2025-02-06T10:53:26.108" v="243" actId="108"/>
        <pc:sldMkLst>
          <pc:docMk/>
          <pc:sldMk cId="1153236904" sldId="2147483279"/>
        </pc:sldMkLst>
      </pc:sldChg>
      <pc:sldChg chg="addSp delSp modSp add mod ord">
        <pc:chgData name="Zainab Hasan Alhammadi زينب حسن الحمادي" userId="e5ea3ead-5cfb-4685-8d1d-bf28404dc0c4" providerId="ADAL" clId="{7D6482DB-5D8D-4A82-8A0C-266FA76E1F3E}" dt="2025-02-06T10:55:48.755" v="322" actId="1038"/>
        <pc:sldMkLst>
          <pc:docMk/>
          <pc:sldMk cId="3384524200" sldId="2147483280"/>
        </pc:sldMkLst>
      </pc:sldChg>
      <pc:sldChg chg="addSp delSp modSp add mod ord">
        <pc:chgData name="Zainab Hasan Alhammadi زينب حسن الحمادي" userId="e5ea3ead-5cfb-4685-8d1d-bf28404dc0c4" providerId="ADAL" clId="{7D6482DB-5D8D-4A82-8A0C-266FA76E1F3E}" dt="2025-02-06T10:58:26.178" v="382" actId="1038"/>
        <pc:sldMkLst>
          <pc:docMk/>
          <pc:sldMk cId="2887833952" sldId="2147483281"/>
        </pc:sldMkLst>
      </pc:sldChg>
      <pc:sldChg chg="addSp delSp modSp add mod ord">
        <pc:chgData name="Zainab Hasan Alhammadi زينب حسن الحمادي" userId="e5ea3ead-5cfb-4685-8d1d-bf28404dc0c4" providerId="ADAL" clId="{7D6482DB-5D8D-4A82-8A0C-266FA76E1F3E}" dt="2025-02-06T11:12:33.854" v="545" actId="1038"/>
        <pc:sldMkLst>
          <pc:docMk/>
          <pc:sldMk cId="3998332795" sldId="2147483283"/>
        </pc:sldMkLst>
      </pc:sldChg>
      <pc:sldChg chg="addSp delSp modSp add mod ord">
        <pc:chgData name="Zainab Hasan Alhammadi زينب حسن الحمادي" userId="e5ea3ead-5cfb-4685-8d1d-bf28404dc0c4" providerId="ADAL" clId="{7D6482DB-5D8D-4A82-8A0C-266FA76E1F3E}" dt="2025-02-06T11:16:52.850" v="585" actId="113"/>
        <pc:sldMkLst>
          <pc:docMk/>
          <pc:sldMk cId="2191595409" sldId="2147483284"/>
        </pc:sldMkLst>
      </pc:sldChg>
      <pc:sldChg chg="addSp delSp modSp add mod ord">
        <pc:chgData name="Zainab Hasan Alhammadi زينب حسن الحمادي" userId="e5ea3ead-5cfb-4685-8d1d-bf28404dc0c4" providerId="ADAL" clId="{7D6482DB-5D8D-4A82-8A0C-266FA76E1F3E}" dt="2025-02-06T11:22:06.324" v="633"/>
        <pc:sldMkLst>
          <pc:docMk/>
          <pc:sldMk cId="2376417135" sldId="2147483285"/>
        </pc:sldMkLst>
      </pc:sldChg>
      <pc:sldChg chg="addSp delSp modSp add mod ord">
        <pc:chgData name="Zainab Hasan Alhammadi زينب حسن الحمادي" userId="e5ea3ead-5cfb-4685-8d1d-bf28404dc0c4" providerId="ADAL" clId="{7D6482DB-5D8D-4A82-8A0C-266FA76E1F3E}" dt="2025-02-06T11:30:36.668" v="780" actId="1076"/>
        <pc:sldMkLst>
          <pc:docMk/>
          <pc:sldMk cId="1739798962" sldId="2147483286"/>
        </pc:sldMkLst>
      </pc:sldChg>
      <pc:sldChg chg="addSp delSp modSp add mod ord">
        <pc:chgData name="Zainab Hasan Alhammadi زينب حسن الحمادي" userId="e5ea3ead-5cfb-4685-8d1d-bf28404dc0c4" providerId="ADAL" clId="{7D6482DB-5D8D-4A82-8A0C-266FA76E1F3E}" dt="2025-02-06T11:34:30.367" v="901" actId="1035"/>
        <pc:sldMkLst>
          <pc:docMk/>
          <pc:sldMk cId="1075347161" sldId="2147483287"/>
        </pc:sldMkLst>
      </pc:sldChg>
      <pc:sldChg chg="addSp delSp modSp add mod">
        <pc:chgData name="Zainab Hasan Alhammadi زينب حسن الحمادي" userId="e5ea3ead-5cfb-4685-8d1d-bf28404dc0c4" providerId="ADAL" clId="{7D6482DB-5D8D-4A82-8A0C-266FA76E1F3E}" dt="2025-02-06T10:41:43.486" v="103" actId="113"/>
        <pc:sldMkLst>
          <pc:docMk/>
          <pc:sldMk cId="1783204017" sldId="2147483288"/>
        </pc:sldMkLst>
      </pc:sldChg>
      <pc:sldChg chg="addSp delSp modSp add mod">
        <pc:chgData name="Zainab Hasan Alhammadi زينب حسن الحمادي" userId="e5ea3ead-5cfb-4685-8d1d-bf28404dc0c4" providerId="ADAL" clId="{7D6482DB-5D8D-4A82-8A0C-266FA76E1F3E}" dt="2025-02-06T12:31:54.798" v="1760" actId="478"/>
        <pc:sldMkLst>
          <pc:docMk/>
          <pc:sldMk cId="3593951019" sldId="2147483289"/>
        </pc:sldMkLst>
      </pc:sldChg>
      <pc:sldChg chg="addSp delSp modSp add mod">
        <pc:chgData name="Zainab Hasan Alhammadi زينب حسن الحمادي" userId="e5ea3ead-5cfb-4685-8d1d-bf28404dc0c4" providerId="ADAL" clId="{7D6482DB-5D8D-4A82-8A0C-266FA76E1F3E}" dt="2025-02-06T12:35:21.272" v="1824" actId="1035"/>
        <pc:sldMkLst>
          <pc:docMk/>
          <pc:sldMk cId="4216106975" sldId="2147483290"/>
        </pc:sldMkLst>
      </pc:sldChg>
      <pc:sldChg chg="addSp delSp modSp add mod">
        <pc:chgData name="Zainab Hasan Alhammadi زينب حسن الحمادي" userId="e5ea3ead-5cfb-4685-8d1d-bf28404dc0c4" providerId="ADAL" clId="{7D6482DB-5D8D-4A82-8A0C-266FA76E1F3E}" dt="2025-02-06T12:39:41.076" v="1883" actId="1076"/>
        <pc:sldMkLst>
          <pc:docMk/>
          <pc:sldMk cId="431428022" sldId="2147483291"/>
        </pc:sldMkLst>
      </pc:sldChg>
      <pc:sldChg chg="addSp delSp modSp add mod">
        <pc:chgData name="Zainab Hasan Alhammadi زينب حسن الحمادي" userId="e5ea3ead-5cfb-4685-8d1d-bf28404dc0c4" providerId="ADAL" clId="{7D6482DB-5D8D-4A82-8A0C-266FA76E1F3E}" dt="2025-02-06T12:42:46.602" v="1923" actId="1076"/>
        <pc:sldMkLst>
          <pc:docMk/>
          <pc:sldMk cId="2076027015" sldId="2147483292"/>
        </pc:sldMkLst>
      </pc:sldChg>
      <pc:sldChg chg="addSp delSp modSp add mod">
        <pc:chgData name="Zainab Hasan Alhammadi زينب حسن الحمادي" userId="e5ea3ead-5cfb-4685-8d1d-bf28404dc0c4" providerId="ADAL" clId="{7D6482DB-5D8D-4A82-8A0C-266FA76E1F3E}" dt="2025-02-06T12:47:09.455" v="2012"/>
        <pc:sldMkLst>
          <pc:docMk/>
          <pc:sldMk cId="3865241108" sldId="2147483293"/>
        </pc:sldMkLst>
      </pc:sldChg>
      <pc:sldChg chg="addSp delSp modSp add mod">
        <pc:chgData name="Zainab Hasan Alhammadi زينب حسن الحمادي" userId="e5ea3ead-5cfb-4685-8d1d-bf28404dc0c4" providerId="ADAL" clId="{7D6482DB-5D8D-4A82-8A0C-266FA76E1F3E}" dt="2025-02-07T06:31:17.195" v="3734"/>
        <pc:sldMkLst>
          <pc:docMk/>
          <pc:sldMk cId="3332782441" sldId="2147483294"/>
        </pc:sldMkLst>
      </pc:sldChg>
      <pc:sldChg chg="addSp delSp modSp add mod">
        <pc:chgData name="Zainab Hasan Alhammadi زينب حسن الحمادي" userId="e5ea3ead-5cfb-4685-8d1d-bf28404dc0c4" providerId="ADAL" clId="{7D6482DB-5D8D-4A82-8A0C-266FA76E1F3E}" dt="2025-02-06T12:52:50.177" v="2137" actId="404"/>
        <pc:sldMkLst>
          <pc:docMk/>
          <pc:sldMk cId="268134863" sldId="2147483295"/>
        </pc:sldMkLst>
      </pc:sldChg>
      <pc:sldChg chg="addSp delSp modSp add mod">
        <pc:chgData name="Zainab Hasan Alhammadi زينب حسن الحمادي" userId="e5ea3ead-5cfb-4685-8d1d-bf28404dc0c4" providerId="ADAL" clId="{7D6482DB-5D8D-4A82-8A0C-266FA76E1F3E}" dt="2025-02-06T12:55:10.759" v="2172" actId="20577"/>
        <pc:sldMkLst>
          <pc:docMk/>
          <pc:sldMk cId="1575362386" sldId="2147483296"/>
        </pc:sldMkLst>
      </pc:sldChg>
      <pc:sldChg chg="addSp delSp modSp add mod">
        <pc:chgData name="Zainab Hasan Alhammadi زينب حسن الحمادي" userId="e5ea3ead-5cfb-4685-8d1d-bf28404dc0c4" providerId="ADAL" clId="{7D6482DB-5D8D-4A82-8A0C-266FA76E1F3E}" dt="2025-02-06T11:38:31.977" v="976"/>
        <pc:sldMkLst>
          <pc:docMk/>
          <pc:sldMk cId="3799091993" sldId="2147483297"/>
        </pc:sldMkLst>
        <pc:spChg chg="mod topLvl">
          <ac:chgData name="Zainab Hasan Alhammadi زينب حسن الحمادي" userId="e5ea3ead-5cfb-4685-8d1d-bf28404dc0c4" providerId="ADAL" clId="{7D6482DB-5D8D-4A82-8A0C-266FA76E1F3E}" dt="2025-02-06T11:36:34.795" v="910" actId="1076"/>
          <ac:spMkLst>
            <pc:docMk/>
            <pc:sldMk cId="3799091993" sldId="2147483297"/>
            <ac:spMk id="6" creationId="{EAABA945-BDE1-DDC1-32E2-C36CF5AC4193}"/>
          </ac:spMkLst>
        </pc:spChg>
        <pc:spChg chg="mod topLvl">
          <ac:chgData name="Zainab Hasan Alhammadi زينب حسن الحمادي" userId="e5ea3ead-5cfb-4685-8d1d-bf28404dc0c4" providerId="ADAL" clId="{7D6482DB-5D8D-4A82-8A0C-266FA76E1F3E}" dt="2025-02-06T11:36:34.795" v="910" actId="1076"/>
          <ac:spMkLst>
            <pc:docMk/>
            <pc:sldMk cId="3799091993" sldId="2147483297"/>
            <ac:spMk id="8" creationId="{A2E40633-6DB0-C2F2-6C3C-9554CC9B1A3C}"/>
          </ac:spMkLst>
        </pc:spChg>
        <pc:spChg chg="mod topLvl">
          <ac:chgData name="Zainab Hasan Alhammadi زينب حسن الحمادي" userId="e5ea3ead-5cfb-4685-8d1d-bf28404dc0c4" providerId="ADAL" clId="{7D6482DB-5D8D-4A82-8A0C-266FA76E1F3E}" dt="2025-02-06T11:36:34.795" v="910" actId="1076"/>
          <ac:spMkLst>
            <pc:docMk/>
            <pc:sldMk cId="3799091993" sldId="2147483297"/>
            <ac:spMk id="10" creationId="{8E4DE7E6-83B4-B86A-6DCD-F113432984F4}"/>
          </ac:spMkLst>
        </pc:spChg>
        <pc:spChg chg="add mod">
          <ac:chgData name="Zainab Hasan Alhammadi زينب حسن الحمادي" userId="e5ea3ead-5cfb-4685-8d1d-bf28404dc0c4" providerId="ADAL" clId="{7D6482DB-5D8D-4A82-8A0C-266FA76E1F3E}" dt="2025-02-06T11:37:46.928" v="974" actId="1035"/>
          <ac:spMkLst>
            <pc:docMk/>
            <pc:sldMk cId="3799091993" sldId="2147483297"/>
            <ac:spMk id="15" creationId="{2C480815-B976-DC58-4621-53A92054C708}"/>
          </ac:spMkLst>
        </pc:spChg>
        <pc:spChg chg="add mod">
          <ac:chgData name="Zainab Hasan Alhammadi زينب حسن الحمادي" userId="e5ea3ead-5cfb-4685-8d1d-bf28404dc0c4" providerId="ADAL" clId="{7D6482DB-5D8D-4A82-8A0C-266FA76E1F3E}" dt="2025-02-06T11:37:46.928" v="974" actId="1035"/>
          <ac:spMkLst>
            <pc:docMk/>
            <pc:sldMk cId="3799091993" sldId="2147483297"/>
            <ac:spMk id="16" creationId="{8E0131AB-EC16-2970-3BCA-064BF4089803}"/>
          </ac:spMkLst>
        </pc:spChg>
        <pc:spChg chg="add mod">
          <ac:chgData name="Zainab Hasan Alhammadi زينب حسن الحمادي" userId="e5ea3ead-5cfb-4685-8d1d-bf28404dc0c4" providerId="ADAL" clId="{7D6482DB-5D8D-4A82-8A0C-266FA76E1F3E}" dt="2025-02-06T11:37:46.928" v="974" actId="1035"/>
          <ac:spMkLst>
            <pc:docMk/>
            <pc:sldMk cId="3799091993" sldId="2147483297"/>
            <ac:spMk id="17" creationId="{22F163B3-F10A-79AD-9FDA-88F1CB847685}"/>
          </ac:spMkLst>
        </pc:spChg>
        <pc:spChg chg="add mod">
          <ac:chgData name="Zainab Hasan Alhammadi زينب حسن الحمادي" userId="e5ea3ead-5cfb-4685-8d1d-bf28404dc0c4" providerId="ADAL" clId="{7D6482DB-5D8D-4A82-8A0C-266FA76E1F3E}" dt="2025-02-06T11:38:20.401" v="975"/>
          <ac:spMkLst>
            <pc:docMk/>
            <pc:sldMk cId="3799091993" sldId="2147483297"/>
            <ac:spMk id="18" creationId="{4354EF50-890A-C254-DD38-231C4A7A7A7B}"/>
          </ac:spMkLst>
        </pc:spChg>
        <pc:spChg chg="add mod">
          <ac:chgData name="Zainab Hasan Alhammadi زينب حسن الحمادي" userId="e5ea3ead-5cfb-4685-8d1d-bf28404dc0c4" providerId="ADAL" clId="{7D6482DB-5D8D-4A82-8A0C-266FA76E1F3E}" dt="2025-02-06T11:38:31.977" v="976"/>
          <ac:spMkLst>
            <pc:docMk/>
            <pc:sldMk cId="3799091993" sldId="2147483297"/>
            <ac:spMk id="19" creationId="{EE065024-94DF-FDAB-0225-D759C4E34C37}"/>
          </ac:spMkLst>
        </pc:spChg>
        <pc:picChg chg="mod">
          <ac:chgData name="Zainab Hasan Alhammadi زينب حسن الحمادي" userId="e5ea3ead-5cfb-4685-8d1d-bf28404dc0c4" providerId="ADAL" clId="{7D6482DB-5D8D-4A82-8A0C-266FA76E1F3E}" dt="2025-02-06T11:36:26.879" v="909" actId="1076"/>
          <ac:picMkLst>
            <pc:docMk/>
            <pc:sldMk cId="3799091993" sldId="2147483297"/>
            <ac:picMk id="2" creationId="{A80497FA-B621-D7C4-054D-0FCB1D292ECD}"/>
          </ac:picMkLst>
        </pc:picChg>
        <pc:cxnChg chg="mod topLvl">
          <ac:chgData name="Zainab Hasan Alhammadi زينب حسن الحمادي" userId="e5ea3ead-5cfb-4685-8d1d-bf28404dc0c4" providerId="ADAL" clId="{7D6482DB-5D8D-4A82-8A0C-266FA76E1F3E}" dt="2025-02-06T11:36:34.795" v="910" actId="1076"/>
          <ac:cxnSpMkLst>
            <pc:docMk/>
            <pc:sldMk cId="3799091993" sldId="2147483297"/>
            <ac:cxnSpMk id="12" creationId="{55981663-FFC7-8930-8C72-F24700164D3E}"/>
          </ac:cxnSpMkLst>
        </pc:cxnChg>
        <pc:cxnChg chg="mod topLvl">
          <ac:chgData name="Zainab Hasan Alhammadi زينب حسن الحمادي" userId="e5ea3ead-5cfb-4685-8d1d-bf28404dc0c4" providerId="ADAL" clId="{7D6482DB-5D8D-4A82-8A0C-266FA76E1F3E}" dt="2025-02-06T11:36:34.795" v="910" actId="1076"/>
          <ac:cxnSpMkLst>
            <pc:docMk/>
            <pc:sldMk cId="3799091993" sldId="2147483297"/>
            <ac:cxnSpMk id="13" creationId="{A0A367EE-7AA5-38CF-507C-832744908336}"/>
          </ac:cxnSpMkLst>
        </pc:cxnChg>
        <pc:cxnChg chg="add mod">
          <ac:chgData name="Zainab Hasan Alhammadi زينب حسن الحمادي" userId="e5ea3ead-5cfb-4685-8d1d-bf28404dc0c4" providerId="ADAL" clId="{7D6482DB-5D8D-4A82-8A0C-266FA76E1F3E}" dt="2025-02-06T11:38:20.401" v="975"/>
          <ac:cxnSpMkLst>
            <pc:docMk/>
            <pc:sldMk cId="3799091993" sldId="2147483297"/>
            <ac:cxnSpMk id="20" creationId="{8720259A-7EC9-841D-E760-425769733CE0}"/>
          </ac:cxnSpMkLst>
        </pc:cxnChg>
      </pc:sldChg>
      <pc:sldChg chg="addSp delSp modSp add mod">
        <pc:chgData name="Zainab Hasan Alhammadi زينب حسن الحمادي" userId="e5ea3ead-5cfb-4685-8d1d-bf28404dc0c4" providerId="ADAL" clId="{7D6482DB-5D8D-4A82-8A0C-266FA76E1F3E}" dt="2025-02-06T11:41:59.264" v="1002" actId="20577"/>
        <pc:sldMkLst>
          <pc:docMk/>
          <pc:sldMk cId="3634158249" sldId="2147483298"/>
        </pc:sldMkLst>
        <pc:spChg chg="add mod">
          <ac:chgData name="Zainab Hasan Alhammadi زينب حسن الحمادي" userId="e5ea3ead-5cfb-4685-8d1d-bf28404dc0c4" providerId="ADAL" clId="{7D6482DB-5D8D-4A82-8A0C-266FA76E1F3E}" dt="2025-02-06T11:41:35.232" v="999" actId="1076"/>
          <ac:spMkLst>
            <pc:docMk/>
            <pc:sldMk cId="3634158249" sldId="2147483298"/>
            <ac:spMk id="6" creationId="{5816B178-167D-0487-C8E7-A8672B0F3599}"/>
          </ac:spMkLst>
        </pc:spChg>
        <pc:spChg chg="add mod">
          <ac:chgData name="Zainab Hasan Alhammadi زينب حسن الحمادي" userId="e5ea3ead-5cfb-4685-8d1d-bf28404dc0c4" providerId="ADAL" clId="{7D6482DB-5D8D-4A82-8A0C-266FA76E1F3E}" dt="2025-02-06T11:41:44.101" v="1000"/>
          <ac:spMkLst>
            <pc:docMk/>
            <pc:sldMk cId="3634158249" sldId="2147483298"/>
            <ac:spMk id="7" creationId="{9BE90530-8DF3-0CDF-34B9-FA3EA0FEC598}"/>
          </ac:spMkLst>
        </pc:spChg>
        <pc:spChg chg="add mod">
          <ac:chgData name="Zainab Hasan Alhammadi زينب حسن الحمادي" userId="e5ea3ead-5cfb-4685-8d1d-bf28404dc0c4" providerId="ADAL" clId="{7D6482DB-5D8D-4A82-8A0C-266FA76E1F3E}" dt="2025-02-06T11:41:59.264" v="1002" actId="20577"/>
          <ac:spMkLst>
            <pc:docMk/>
            <pc:sldMk cId="3634158249" sldId="2147483298"/>
            <ac:spMk id="8" creationId="{911FB1ED-3FE2-5F69-409D-7EA3D4C67679}"/>
          </ac:spMkLst>
        </pc:spChg>
        <pc:spChg chg="mod">
          <ac:chgData name="Zainab Hasan Alhammadi زينب حسن الحمادي" userId="e5ea3ead-5cfb-4685-8d1d-bf28404dc0c4" providerId="ADAL" clId="{7D6482DB-5D8D-4A82-8A0C-266FA76E1F3E}" dt="2025-02-06T11:39:53.705" v="986" actId="404"/>
          <ac:spMkLst>
            <pc:docMk/>
            <pc:sldMk cId="3634158249" sldId="2147483298"/>
            <ac:spMk id="20" creationId="{40073D16-1765-804E-13E0-AF147D6E6064}"/>
          </ac:spMkLst>
        </pc:spChg>
        <pc:spChg chg="mod">
          <ac:chgData name="Zainab Hasan Alhammadi زينب حسن الحمادي" userId="e5ea3ead-5cfb-4685-8d1d-bf28404dc0c4" providerId="ADAL" clId="{7D6482DB-5D8D-4A82-8A0C-266FA76E1F3E}" dt="2025-02-06T11:40:26.878" v="991" actId="108"/>
          <ac:spMkLst>
            <pc:docMk/>
            <pc:sldMk cId="3634158249" sldId="2147483298"/>
            <ac:spMk id="23" creationId="{5554C8B6-68B8-AC5A-4710-8C51A625577F}"/>
          </ac:spMkLst>
        </pc:spChg>
        <pc:spChg chg="mod">
          <ac:chgData name="Zainab Hasan Alhammadi زينب حسن الحمادي" userId="e5ea3ead-5cfb-4685-8d1d-bf28404dc0c4" providerId="ADAL" clId="{7D6482DB-5D8D-4A82-8A0C-266FA76E1F3E}" dt="2025-02-06T11:40:31.783" v="992" actId="108"/>
          <ac:spMkLst>
            <pc:docMk/>
            <pc:sldMk cId="3634158249" sldId="2147483298"/>
            <ac:spMk id="26" creationId="{9918226C-D0BA-CE19-6B43-33F05F7BF575}"/>
          </ac:spMkLst>
        </pc:spChg>
        <pc:grpChg chg="add mod">
          <ac:chgData name="Zainab Hasan Alhammadi زينب حسن الحمادي" userId="e5ea3ead-5cfb-4685-8d1d-bf28404dc0c4" providerId="ADAL" clId="{7D6482DB-5D8D-4A82-8A0C-266FA76E1F3E}" dt="2025-02-06T11:39:10.084" v="981" actId="1076"/>
          <ac:grpSpMkLst>
            <pc:docMk/>
            <pc:sldMk cId="3634158249" sldId="2147483298"/>
            <ac:grpSpMk id="5" creationId="{76568264-9AF1-EE10-09E5-17A77434003C}"/>
          </ac:grpSpMkLst>
        </pc:grpChg>
        <pc:grpChg chg="mod">
          <ac:chgData name="Zainab Hasan Alhammadi زينب حسن الحمادي" userId="e5ea3ead-5cfb-4685-8d1d-bf28404dc0c4" providerId="ADAL" clId="{7D6482DB-5D8D-4A82-8A0C-266FA76E1F3E}" dt="2025-02-06T11:38:55.329" v="978" actId="164"/>
          <ac:grpSpMkLst>
            <pc:docMk/>
            <pc:sldMk cId="3634158249" sldId="2147483298"/>
            <ac:grpSpMk id="18" creationId="{C563B46A-851B-92E4-D850-743650731B5B}"/>
          </ac:grpSpMkLst>
        </pc:grpChg>
        <pc:grpChg chg="mod">
          <ac:chgData name="Zainab Hasan Alhammadi زينب حسن الحمادي" userId="e5ea3ead-5cfb-4685-8d1d-bf28404dc0c4" providerId="ADAL" clId="{7D6482DB-5D8D-4A82-8A0C-266FA76E1F3E}" dt="2025-02-06T11:38:55.329" v="978" actId="164"/>
          <ac:grpSpMkLst>
            <pc:docMk/>
            <pc:sldMk cId="3634158249" sldId="2147483298"/>
            <ac:grpSpMk id="21" creationId="{BC7C4A45-6F6E-5B59-FEA0-4E1CA31DFBB4}"/>
          </ac:grpSpMkLst>
        </pc:grpChg>
        <pc:grpChg chg="mod">
          <ac:chgData name="Zainab Hasan Alhammadi زينب حسن الحمادي" userId="e5ea3ead-5cfb-4685-8d1d-bf28404dc0c4" providerId="ADAL" clId="{7D6482DB-5D8D-4A82-8A0C-266FA76E1F3E}" dt="2025-02-06T11:38:55.329" v="978" actId="164"/>
          <ac:grpSpMkLst>
            <pc:docMk/>
            <pc:sldMk cId="3634158249" sldId="2147483298"/>
            <ac:grpSpMk id="24" creationId="{DF8A0EE4-F3D1-C21F-C57E-8CA60C299508}"/>
          </ac:grpSpMkLst>
        </pc:grpChg>
        <pc:picChg chg="mod">
          <ac:chgData name="Zainab Hasan Alhammadi زينب حسن الحمادي" userId="e5ea3ead-5cfb-4685-8d1d-bf28404dc0c4" providerId="ADAL" clId="{7D6482DB-5D8D-4A82-8A0C-266FA76E1F3E}" dt="2025-02-06T11:38:55.329" v="978" actId="164"/>
          <ac:picMkLst>
            <pc:docMk/>
            <pc:sldMk cId="3634158249" sldId="2147483298"/>
            <ac:picMk id="17" creationId="{02492F02-D336-C742-6397-17F5287C2FF8}"/>
          </ac:picMkLst>
        </pc:picChg>
        <pc:cxnChg chg="add mod">
          <ac:chgData name="Zainab Hasan Alhammadi زينب حسن الحمادي" userId="e5ea3ead-5cfb-4685-8d1d-bf28404dc0c4" providerId="ADAL" clId="{7D6482DB-5D8D-4A82-8A0C-266FA76E1F3E}" dt="2025-02-06T11:41:44.101" v="1000"/>
          <ac:cxnSpMkLst>
            <pc:docMk/>
            <pc:sldMk cId="3634158249" sldId="2147483298"/>
            <ac:cxnSpMk id="9" creationId="{FB9B52C1-A4AD-ABD5-9C1A-03233FBA3899}"/>
          </ac:cxnSpMkLst>
        </pc:cxnChg>
      </pc:sldChg>
      <pc:sldChg chg="addSp delSp modSp add mod">
        <pc:chgData name="Zainab Hasan Alhammadi زينب حسن الحمادي" userId="e5ea3ead-5cfb-4685-8d1d-bf28404dc0c4" providerId="ADAL" clId="{7D6482DB-5D8D-4A82-8A0C-266FA76E1F3E}" dt="2025-02-06T11:47:06.201" v="1043" actId="207"/>
        <pc:sldMkLst>
          <pc:docMk/>
          <pc:sldMk cId="2886385970" sldId="2147483299"/>
        </pc:sldMkLst>
        <pc:spChg chg="mod">
          <ac:chgData name="Zainab Hasan Alhammadi زينب حسن الحمادي" userId="e5ea3ead-5cfb-4685-8d1d-bf28404dc0c4" providerId="ADAL" clId="{7D6482DB-5D8D-4A82-8A0C-266FA76E1F3E}" dt="2025-02-06T11:43:28.190" v="1013" actId="478"/>
          <ac:spMkLst>
            <pc:docMk/>
            <pc:sldMk cId="2886385970" sldId="2147483299"/>
            <ac:spMk id="12" creationId="{DE5445C3-5FA4-6E33-EEC4-41A0F4EEF78C}"/>
          </ac:spMkLst>
        </pc:spChg>
        <pc:spChg chg="mod">
          <ac:chgData name="Zainab Hasan Alhammadi زينب حسن الحمادي" userId="e5ea3ead-5cfb-4685-8d1d-bf28404dc0c4" providerId="ADAL" clId="{7D6482DB-5D8D-4A82-8A0C-266FA76E1F3E}" dt="2025-02-06T11:43:28.190" v="1013" actId="478"/>
          <ac:spMkLst>
            <pc:docMk/>
            <pc:sldMk cId="2886385970" sldId="2147483299"/>
            <ac:spMk id="18" creationId="{B803311D-4E54-8C7C-9CFB-FFCCF2476B31}"/>
          </ac:spMkLst>
        </pc:spChg>
        <pc:spChg chg="mod">
          <ac:chgData name="Zainab Hasan Alhammadi زينب حسن الحمادي" userId="e5ea3ead-5cfb-4685-8d1d-bf28404dc0c4" providerId="ADAL" clId="{7D6482DB-5D8D-4A82-8A0C-266FA76E1F3E}" dt="2025-02-06T11:43:28.190" v="1013" actId="478"/>
          <ac:spMkLst>
            <pc:docMk/>
            <pc:sldMk cId="2886385970" sldId="2147483299"/>
            <ac:spMk id="31" creationId="{D85DA6D8-7CC5-E1F0-92E5-EB482F9F7949}"/>
          </ac:spMkLst>
        </pc:spChg>
        <pc:spChg chg="mod">
          <ac:chgData name="Zainab Hasan Alhammadi زينب حسن الحمادي" userId="e5ea3ead-5cfb-4685-8d1d-bf28404dc0c4" providerId="ADAL" clId="{7D6482DB-5D8D-4A82-8A0C-266FA76E1F3E}" dt="2025-02-06T11:43:28.190" v="1013" actId="478"/>
          <ac:spMkLst>
            <pc:docMk/>
            <pc:sldMk cId="2886385970" sldId="2147483299"/>
            <ac:spMk id="36" creationId="{24F84C9F-1370-5B0A-8CCD-E43E335AADEF}"/>
          </ac:spMkLst>
        </pc:spChg>
        <pc:spChg chg="mod">
          <ac:chgData name="Zainab Hasan Alhammadi زينب حسن الحمادي" userId="e5ea3ead-5cfb-4685-8d1d-bf28404dc0c4" providerId="ADAL" clId="{7D6482DB-5D8D-4A82-8A0C-266FA76E1F3E}" dt="2025-02-06T11:46:06.399" v="1033" actId="404"/>
          <ac:spMkLst>
            <pc:docMk/>
            <pc:sldMk cId="2886385970" sldId="2147483299"/>
            <ac:spMk id="38" creationId="{4A12F171-E404-DA7D-CFF7-4015C948813C}"/>
          </ac:spMkLst>
        </pc:spChg>
        <pc:spChg chg="mod">
          <ac:chgData name="Zainab Hasan Alhammadi زينب حسن الحمادي" userId="e5ea3ead-5cfb-4685-8d1d-bf28404dc0c4" providerId="ADAL" clId="{7D6482DB-5D8D-4A82-8A0C-266FA76E1F3E}" dt="2025-02-06T11:46:15.336" v="1035" actId="404"/>
          <ac:spMkLst>
            <pc:docMk/>
            <pc:sldMk cId="2886385970" sldId="2147483299"/>
            <ac:spMk id="39" creationId="{1DFA083D-639C-7C2B-3040-3A98A41AC113}"/>
          </ac:spMkLst>
        </pc:spChg>
        <pc:spChg chg="mod">
          <ac:chgData name="Zainab Hasan Alhammadi زينب حسن الحمادي" userId="e5ea3ead-5cfb-4685-8d1d-bf28404dc0c4" providerId="ADAL" clId="{7D6482DB-5D8D-4A82-8A0C-266FA76E1F3E}" dt="2025-02-06T11:46:40.617" v="1038" actId="2711"/>
          <ac:spMkLst>
            <pc:docMk/>
            <pc:sldMk cId="2886385970" sldId="2147483299"/>
            <ac:spMk id="51" creationId="{BE89E7FC-4060-83DB-FC56-0BDA21AAECD9}"/>
          </ac:spMkLst>
        </pc:spChg>
        <pc:spChg chg="mod">
          <ac:chgData name="Zainab Hasan Alhammadi زينب حسن الحمادي" userId="e5ea3ead-5cfb-4685-8d1d-bf28404dc0c4" providerId="ADAL" clId="{7D6482DB-5D8D-4A82-8A0C-266FA76E1F3E}" dt="2025-02-06T11:47:06.201" v="1043" actId="207"/>
          <ac:spMkLst>
            <pc:docMk/>
            <pc:sldMk cId="2886385970" sldId="2147483299"/>
            <ac:spMk id="58" creationId="{383218B4-D1CB-20DE-F38C-44695C75D25B}"/>
          </ac:spMkLst>
        </pc:spChg>
        <pc:spChg chg="add mod">
          <ac:chgData name="Zainab Hasan Alhammadi زينب حسن الحمادي" userId="e5ea3ead-5cfb-4685-8d1d-bf28404dc0c4" providerId="ADAL" clId="{7D6482DB-5D8D-4A82-8A0C-266FA76E1F3E}" dt="2025-02-06T11:42:21.724" v="1003"/>
          <ac:spMkLst>
            <pc:docMk/>
            <pc:sldMk cId="2886385970" sldId="2147483299"/>
            <ac:spMk id="63" creationId="{8AD8370B-8F91-852E-72B4-49270A82EFED}"/>
          </ac:spMkLst>
        </pc:spChg>
        <pc:spChg chg="add mod">
          <ac:chgData name="Zainab Hasan Alhammadi زينب حسن الحمادي" userId="e5ea3ead-5cfb-4685-8d1d-bf28404dc0c4" providerId="ADAL" clId="{7D6482DB-5D8D-4A82-8A0C-266FA76E1F3E}" dt="2025-02-06T11:42:37.842" v="1008"/>
          <ac:spMkLst>
            <pc:docMk/>
            <pc:sldMk cId="2886385970" sldId="2147483299"/>
            <ac:spMk id="64" creationId="{6D723913-1122-46EE-53AA-AA70FC6B6799}"/>
          </ac:spMkLst>
        </pc:spChg>
        <pc:spChg chg="add mod">
          <ac:chgData name="Zainab Hasan Alhammadi زينب حسن الحمادي" userId="e5ea3ead-5cfb-4685-8d1d-bf28404dc0c4" providerId="ADAL" clId="{7D6482DB-5D8D-4A82-8A0C-266FA76E1F3E}" dt="2025-02-06T11:44:09.141" v="1025" actId="403"/>
          <ac:spMkLst>
            <pc:docMk/>
            <pc:sldMk cId="2886385970" sldId="2147483299"/>
            <ac:spMk id="66" creationId="{779E9FAC-B3F7-47B8-612E-0787AD1577D2}"/>
          </ac:spMkLst>
        </pc:spChg>
        <pc:spChg chg="add mod">
          <ac:chgData name="Zainab Hasan Alhammadi زينب حسن الحمادي" userId="e5ea3ead-5cfb-4685-8d1d-bf28404dc0c4" providerId="ADAL" clId="{7D6482DB-5D8D-4A82-8A0C-266FA76E1F3E}" dt="2025-02-06T11:44:09.141" v="1025" actId="403"/>
          <ac:spMkLst>
            <pc:docMk/>
            <pc:sldMk cId="2886385970" sldId="2147483299"/>
            <ac:spMk id="67" creationId="{92B53FCD-D8BB-D41B-DF64-63D5E4678509}"/>
          </ac:spMkLst>
        </pc:spChg>
        <pc:spChg chg="add mod">
          <ac:chgData name="Zainab Hasan Alhammadi زينب حسن الحمادي" userId="e5ea3ead-5cfb-4685-8d1d-bf28404dc0c4" providerId="ADAL" clId="{7D6482DB-5D8D-4A82-8A0C-266FA76E1F3E}" dt="2025-02-06T11:44:09.141" v="1025" actId="403"/>
          <ac:spMkLst>
            <pc:docMk/>
            <pc:sldMk cId="2886385970" sldId="2147483299"/>
            <ac:spMk id="68" creationId="{A8C10FBD-72AC-4AD6-5BD5-7A62989CC20C}"/>
          </ac:spMkLst>
        </pc:spChg>
        <pc:spChg chg="add mod">
          <ac:chgData name="Zainab Hasan Alhammadi زينب حسن الحمادي" userId="e5ea3ead-5cfb-4685-8d1d-bf28404dc0c4" providerId="ADAL" clId="{7D6482DB-5D8D-4A82-8A0C-266FA76E1F3E}" dt="2025-02-06T11:44:09.141" v="1025" actId="403"/>
          <ac:spMkLst>
            <pc:docMk/>
            <pc:sldMk cId="2886385970" sldId="2147483299"/>
            <ac:spMk id="70" creationId="{EA7A2837-3097-FF3D-961D-A9F46F672191}"/>
          </ac:spMkLst>
        </pc:spChg>
        <pc:spChg chg="add mod">
          <ac:chgData name="Zainab Hasan Alhammadi زينب حسن الحمادي" userId="e5ea3ead-5cfb-4685-8d1d-bf28404dc0c4" providerId="ADAL" clId="{7D6482DB-5D8D-4A82-8A0C-266FA76E1F3E}" dt="2025-02-06T11:44:09.141" v="1025" actId="403"/>
          <ac:spMkLst>
            <pc:docMk/>
            <pc:sldMk cId="2886385970" sldId="2147483299"/>
            <ac:spMk id="71" creationId="{27594CBB-EE78-8B64-A475-E12CB7EA586D}"/>
          </ac:spMkLst>
        </pc:spChg>
        <pc:spChg chg="add mod">
          <ac:chgData name="Zainab Hasan Alhammadi زينب حسن الحمادي" userId="e5ea3ead-5cfb-4685-8d1d-bf28404dc0c4" providerId="ADAL" clId="{7D6482DB-5D8D-4A82-8A0C-266FA76E1F3E}" dt="2025-02-06T11:44:09.141" v="1025" actId="403"/>
          <ac:spMkLst>
            <pc:docMk/>
            <pc:sldMk cId="2886385970" sldId="2147483299"/>
            <ac:spMk id="72" creationId="{45C34616-1157-4269-127C-05463B99050C}"/>
          </ac:spMkLst>
        </pc:spChg>
        <pc:spChg chg="add mod">
          <ac:chgData name="Zainab Hasan Alhammadi زينب حسن الحمادي" userId="e5ea3ead-5cfb-4685-8d1d-bf28404dc0c4" providerId="ADAL" clId="{7D6482DB-5D8D-4A82-8A0C-266FA76E1F3E}" dt="2025-02-06T11:44:09.141" v="1025" actId="403"/>
          <ac:spMkLst>
            <pc:docMk/>
            <pc:sldMk cId="2886385970" sldId="2147483299"/>
            <ac:spMk id="73" creationId="{AAB4726B-142E-8CAE-2DFD-FCA348EE691A}"/>
          </ac:spMkLst>
        </pc:spChg>
        <pc:spChg chg="add mod">
          <ac:chgData name="Zainab Hasan Alhammadi زينب حسن الحمادي" userId="e5ea3ead-5cfb-4685-8d1d-bf28404dc0c4" providerId="ADAL" clId="{7D6482DB-5D8D-4A82-8A0C-266FA76E1F3E}" dt="2025-02-06T11:44:09.141" v="1025" actId="403"/>
          <ac:spMkLst>
            <pc:docMk/>
            <pc:sldMk cId="2886385970" sldId="2147483299"/>
            <ac:spMk id="74" creationId="{55A163AA-7FB0-71DF-9C33-58AF6C023FB6}"/>
          </ac:spMkLst>
        </pc:spChg>
        <pc:spChg chg="add mod">
          <ac:chgData name="Zainab Hasan Alhammadi زينب حسن الحمادي" userId="e5ea3ead-5cfb-4685-8d1d-bf28404dc0c4" providerId="ADAL" clId="{7D6482DB-5D8D-4A82-8A0C-266FA76E1F3E}" dt="2025-02-06T11:44:09.141" v="1025" actId="403"/>
          <ac:spMkLst>
            <pc:docMk/>
            <pc:sldMk cId="2886385970" sldId="2147483299"/>
            <ac:spMk id="76" creationId="{83F9C775-E282-0BEC-ED05-AD5B30D45C7A}"/>
          </ac:spMkLst>
        </pc:spChg>
        <pc:spChg chg="add mod">
          <ac:chgData name="Zainab Hasan Alhammadi زينب حسن الحمادي" userId="e5ea3ead-5cfb-4685-8d1d-bf28404dc0c4" providerId="ADAL" clId="{7D6482DB-5D8D-4A82-8A0C-266FA76E1F3E}" dt="2025-02-06T11:44:19.448" v="1027" actId="1076"/>
          <ac:spMkLst>
            <pc:docMk/>
            <pc:sldMk cId="2886385970" sldId="2147483299"/>
            <ac:spMk id="77" creationId="{822EF7A7-9A04-C0B3-A605-2E88FEBBC00D}"/>
          </ac:spMkLst>
        </pc:spChg>
        <pc:picChg chg="mod">
          <ac:chgData name="Zainab Hasan Alhammadi زينب حسن الحمادي" userId="e5ea3ead-5cfb-4685-8d1d-bf28404dc0c4" providerId="ADAL" clId="{7D6482DB-5D8D-4A82-8A0C-266FA76E1F3E}" dt="2025-02-06T11:44:45.457" v="1028" actId="1076"/>
          <ac:picMkLst>
            <pc:docMk/>
            <pc:sldMk cId="2886385970" sldId="2147483299"/>
            <ac:picMk id="43" creationId="{0A1FBF96-52E2-968D-41A7-FFD1C4C3C921}"/>
          </ac:picMkLst>
        </pc:picChg>
        <pc:picChg chg="mod">
          <ac:chgData name="Zainab Hasan Alhammadi زينب حسن الحمادي" userId="e5ea3ead-5cfb-4685-8d1d-bf28404dc0c4" providerId="ADAL" clId="{7D6482DB-5D8D-4A82-8A0C-266FA76E1F3E}" dt="2025-02-06T11:44:45.457" v="1028" actId="1076"/>
          <ac:picMkLst>
            <pc:docMk/>
            <pc:sldMk cId="2886385970" sldId="2147483299"/>
            <ac:picMk id="46" creationId="{A0BB92C3-1633-6A89-02D6-536465943C77}"/>
          </ac:picMkLst>
        </pc:picChg>
        <pc:picChg chg="mod">
          <ac:chgData name="Zainab Hasan Alhammadi زينب حسن الحمادي" userId="e5ea3ead-5cfb-4685-8d1d-bf28404dc0c4" providerId="ADAL" clId="{7D6482DB-5D8D-4A82-8A0C-266FA76E1F3E}" dt="2025-02-06T11:44:45.457" v="1028" actId="1076"/>
          <ac:picMkLst>
            <pc:docMk/>
            <pc:sldMk cId="2886385970" sldId="2147483299"/>
            <ac:picMk id="47" creationId="{5054AFFE-3E85-031E-4285-0342F3CC258D}"/>
          </ac:picMkLst>
        </pc:picChg>
        <pc:picChg chg="mod">
          <ac:chgData name="Zainab Hasan Alhammadi زينب حسن الحمادي" userId="e5ea3ead-5cfb-4685-8d1d-bf28404dc0c4" providerId="ADAL" clId="{7D6482DB-5D8D-4A82-8A0C-266FA76E1F3E}" dt="2025-02-06T11:44:45.457" v="1028" actId="1076"/>
          <ac:picMkLst>
            <pc:docMk/>
            <pc:sldMk cId="2886385970" sldId="2147483299"/>
            <ac:picMk id="49" creationId="{DA2276AA-9C1E-606A-2860-94A0F61E9956}"/>
          </ac:picMkLst>
        </pc:picChg>
        <pc:picChg chg="mod">
          <ac:chgData name="Zainab Hasan Alhammadi زينب حسن الحمادي" userId="e5ea3ead-5cfb-4685-8d1d-bf28404dc0c4" providerId="ADAL" clId="{7D6482DB-5D8D-4A82-8A0C-266FA76E1F3E}" dt="2025-02-06T11:44:45.457" v="1028" actId="1076"/>
          <ac:picMkLst>
            <pc:docMk/>
            <pc:sldMk cId="2886385970" sldId="2147483299"/>
            <ac:picMk id="50" creationId="{E57FAC51-3183-9CE6-D103-A0327244BD54}"/>
          </ac:picMkLst>
        </pc:picChg>
        <pc:picChg chg="mod">
          <ac:chgData name="Zainab Hasan Alhammadi زينب حسن الحمادي" userId="e5ea3ead-5cfb-4685-8d1d-bf28404dc0c4" providerId="ADAL" clId="{7D6482DB-5D8D-4A82-8A0C-266FA76E1F3E}" dt="2025-02-06T11:44:45.457" v="1028" actId="1076"/>
          <ac:picMkLst>
            <pc:docMk/>
            <pc:sldMk cId="2886385970" sldId="2147483299"/>
            <ac:picMk id="62" creationId="{BAE117D7-2085-BD3E-9883-00E55A863ACF}"/>
          </ac:picMkLst>
        </pc:picChg>
        <pc:cxnChg chg="add mod">
          <ac:chgData name="Zainab Hasan Alhammadi زينب حسن الحمادي" userId="e5ea3ead-5cfb-4685-8d1d-bf28404dc0c4" providerId="ADAL" clId="{7D6482DB-5D8D-4A82-8A0C-266FA76E1F3E}" dt="2025-02-06T11:42:21.724" v="1003"/>
          <ac:cxnSpMkLst>
            <pc:docMk/>
            <pc:sldMk cId="2886385970" sldId="2147483299"/>
            <ac:cxnSpMk id="65" creationId="{FBD55B46-E95F-A938-87E8-5008D593F0DB}"/>
          </ac:cxnSpMkLst>
        </pc:cxnChg>
      </pc:sldChg>
      <pc:sldChg chg="addSp delSp modSp add mod">
        <pc:chgData name="Zainab Hasan Alhammadi زينب حسن الحمادي" userId="e5ea3ead-5cfb-4685-8d1d-bf28404dc0c4" providerId="ADAL" clId="{7D6482DB-5D8D-4A82-8A0C-266FA76E1F3E}" dt="2025-02-06T11:48:40.922" v="1055" actId="20577"/>
        <pc:sldMkLst>
          <pc:docMk/>
          <pc:sldMk cId="3059547484" sldId="2147483300"/>
        </pc:sldMkLst>
        <pc:spChg chg="add mod">
          <ac:chgData name="Zainab Hasan Alhammadi زينب حسن الحمادي" userId="e5ea3ead-5cfb-4685-8d1d-bf28404dc0c4" providerId="ADAL" clId="{7D6482DB-5D8D-4A82-8A0C-266FA76E1F3E}" dt="2025-02-06T11:48:04.243" v="1049" actId="404"/>
          <ac:spMkLst>
            <pc:docMk/>
            <pc:sldMk cId="3059547484" sldId="2147483300"/>
            <ac:spMk id="23" creationId="{45705782-9783-B5C1-1D1A-A42B782C24E3}"/>
          </ac:spMkLst>
        </pc:spChg>
        <pc:spChg chg="add mod">
          <ac:chgData name="Zainab Hasan Alhammadi زينب حسن الحمادي" userId="e5ea3ead-5cfb-4685-8d1d-bf28404dc0c4" providerId="ADAL" clId="{7D6482DB-5D8D-4A82-8A0C-266FA76E1F3E}" dt="2025-02-06T11:48:04.243" v="1049" actId="404"/>
          <ac:spMkLst>
            <pc:docMk/>
            <pc:sldMk cId="3059547484" sldId="2147483300"/>
            <ac:spMk id="24" creationId="{F81EB6B6-E34F-FEDE-2AB3-A2DDE940C8BE}"/>
          </ac:spMkLst>
        </pc:spChg>
        <pc:spChg chg="add mod">
          <ac:chgData name="Zainab Hasan Alhammadi زينب حسن الحمادي" userId="e5ea3ead-5cfb-4685-8d1d-bf28404dc0c4" providerId="ADAL" clId="{7D6482DB-5D8D-4A82-8A0C-266FA76E1F3E}" dt="2025-02-06T11:48:04.243" v="1049" actId="404"/>
          <ac:spMkLst>
            <pc:docMk/>
            <pc:sldMk cId="3059547484" sldId="2147483300"/>
            <ac:spMk id="25" creationId="{88A9EB3C-4336-4DC2-463B-F70C85CFA5EB}"/>
          </ac:spMkLst>
        </pc:spChg>
        <pc:spChg chg="add mod">
          <ac:chgData name="Zainab Hasan Alhammadi زينب حسن الحمادي" userId="e5ea3ead-5cfb-4685-8d1d-bf28404dc0c4" providerId="ADAL" clId="{7D6482DB-5D8D-4A82-8A0C-266FA76E1F3E}" dt="2025-02-06T11:48:04.243" v="1049" actId="404"/>
          <ac:spMkLst>
            <pc:docMk/>
            <pc:sldMk cId="3059547484" sldId="2147483300"/>
            <ac:spMk id="26" creationId="{E7F423D5-0EEB-FF02-AC6D-AB16744EB186}"/>
          </ac:spMkLst>
        </pc:spChg>
        <pc:spChg chg="add mod">
          <ac:chgData name="Zainab Hasan Alhammadi زينب حسن الحمادي" userId="e5ea3ead-5cfb-4685-8d1d-bf28404dc0c4" providerId="ADAL" clId="{7D6482DB-5D8D-4A82-8A0C-266FA76E1F3E}" dt="2025-02-06T11:48:04.243" v="1049" actId="404"/>
          <ac:spMkLst>
            <pc:docMk/>
            <pc:sldMk cId="3059547484" sldId="2147483300"/>
            <ac:spMk id="27" creationId="{5671E678-0D82-8FDC-6212-F8F53F875B62}"/>
          </ac:spMkLst>
        </pc:spChg>
        <pc:spChg chg="add mod">
          <ac:chgData name="Zainab Hasan Alhammadi زينب حسن الحمادي" userId="e5ea3ead-5cfb-4685-8d1d-bf28404dc0c4" providerId="ADAL" clId="{7D6482DB-5D8D-4A82-8A0C-266FA76E1F3E}" dt="2025-02-06T11:48:04.243" v="1049" actId="404"/>
          <ac:spMkLst>
            <pc:docMk/>
            <pc:sldMk cId="3059547484" sldId="2147483300"/>
            <ac:spMk id="28" creationId="{6979A8C5-0E21-D031-27D8-F349E442BCB3}"/>
          </ac:spMkLst>
        </pc:spChg>
        <pc:spChg chg="add mod">
          <ac:chgData name="Zainab Hasan Alhammadi زينب حسن الحمادي" userId="e5ea3ead-5cfb-4685-8d1d-bf28404dc0c4" providerId="ADAL" clId="{7D6482DB-5D8D-4A82-8A0C-266FA76E1F3E}" dt="2025-02-06T11:48:04.243" v="1049" actId="404"/>
          <ac:spMkLst>
            <pc:docMk/>
            <pc:sldMk cId="3059547484" sldId="2147483300"/>
            <ac:spMk id="29" creationId="{06B38625-C35A-DBBD-B81B-3D873F71A1B8}"/>
          </ac:spMkLst>
        </pc:spChg>
        <pc:spChg chg="add mod">
          <ac:chgData name="Zainab Hasan Alhammadi زينب حسن الحمادي" userId="e5ea3ead-5cfb-4685-8d1d-bf28404dc0c4" providerId="ADAL" clId="{7D6482DB-5D8D-4A82-8A0C-266FA76E1F3E}" dt="2025-02-06T11:48:04.243" v="1049" actId="404"/>
          <ac:spMkLst>
            <pc:docMk/>
            <pc:sldMk cId="3059547484" sldId="2147483300"/>
            <ac:spMk id="30" creationId="{F8D476A2-7951-2894-A557-EE33098CE856}"/>
          </ac:spMkLst>
        </pc:spChg>
        <pc:spChg chg="add mod">
          <ac:chgData name="Zainab Hasan Alhammadi زينب حسن الحمادي" userId="e5ea3ead-5cfb-4685-8d1d-bf28404dc0c4" providerId="ADAL" clId="{7D6482DB-5D8D-4A82-8A0C-266FA76E1F3E}" dt="2025-02-06T11:48:04.243" v="1049" actId="404"/>
          <ac:spMkLst>
            <pc:docMk/>
            <pc:sldMk cId="3059547484" sldId="2147483300"/>
            <ac:spMk id="31" creationId="{8642452B-B254-14F2-309D-297B3DBDE89E}"/>
          </ac:spMkLst>
        </pc:spChg>
        <pc:spChg chg="add mod">
          <ac:chgData name="Zainab Hasan Alhammadi زينب حسن الحمادي" userId="e5ea3ead-5cfb-4685-8d1d-bf28404dc0c4" providerId="ADAL" clId="{7D6482DB-5D8D-4A82-8A0C-266FA76E1F3E}" dt="2025-02-06T11:48:26.388" v="1053"/>
          <ac:spMkLst>
            <pc:docMk/>
            <pc:sldMk cId="3059547484" sldId="2147483300"/>
            <ac:spMk id="32" creationId="{7E89C8D5-4772-419D-455B-BCC3A7A47616}"/>
          </ac:spMkLst>
        </pc:spChg>
        <pc:spChg chg="add mod">
          <ac:chgData name="Zainab Hasan Alhammadi زينب حسن الحمادي" userId="e5ea3ead-5cfb-4685-8d1d-bf28404dc0c4" providerId="ADAL" clId="{7D6482DB-5D8D-4A82-8A0C-266FA76E1F3E}" dt="2025-02-06T11:48:40.922" v="1055" actId="20577"/>
          <ac:spMkLst>
            <pc:docMk/>
            <pc:sldMk cId="3059547484" sldId="2147483300"/>
            <ac:spMk id="33" creationId="{5D207081-60F0-6CA3-A3D4-AC084AB5B7B2}"/>
          </ac:spMkLst>
        </pc:spChg>
        <pc:cxnChg chg="add mod">
          <ac:chgData name="Zainab Hasan Alhammadi زينب حسن الحمادي" userId="e5ea3ead-5cfb-4685-8d1d-bf28404dc0c4" providerId="ADAL" clId="{7D6482DB-5D8D-4A82-8A0C-266FA76E1F3E}" dt="2025-02-06T11:48:26.388" v="1053"/>
          <ac:cxnSpMkLst>
            <pc:docMk/>
            <pc:sldMk cId="3059547484" sldId="2147483300"/>
            <ac:cxnSpMk id="34" creationId="{C7C80643-7C98-6921-18CE-C20F384F62C0}"/>
          </ac:cxnSpMkLst>
        </pc:cxnChg>
      </pc:sldChg>
      <pc:sldChg chg="addSp delSp modSp add mod">
        <pc:chgData name="Zainab Hasan Alhammadi زينب حسن الحمادي" userId="e5ea3ead-5cfb-4685-8d1d-bf28404dc0c4" providerId="ADAL" clId="{7D6482DB-5D8D-4A82-8A0C-266FA76E1F3E}" dt="2025-02-06T12:02:39" v="1322" actId="1076"/>
        <pc:sldMkLst>
          <pc:docMk/>
          <pc:sldMk cId="3191808338" sldId="2147483301"/>
        </pc:sldMkLst>
        <pc:spChg chg="mod">
          <ac:chgData name="Zainab Hasan Alhammadi زينب حسن الحمادي" userId="e5ea3ead-5cfb-4685-8d1d-bf28404dc0c4" providerId="ADAL" clId="{7D6482DB-5D8D-4A82-8A0C-266FA76E1F3E}" dt="2025-02-06T12:02:24.176" v="1320" actId="1076"/>
          <ac:spMkLst>
            <pc:docMk/>
            <pc:sldMk cId="3191808338" sldId="2147483301"/>
            <ac:spMk id="10" creationId="{97AF4163-84FC-8464-882E-2C82ED8E1B2F}"/>
          </ac:spMkLst>
        </pc:spChg>
        <pc:spChg chg="mod">
          <ac:chgData name="Zainab Hasan Alhammadi زينب حسن الحمادي" userId="e5ea3ead-5cfb-4685-8d1d-bf28404dc0c4" providerId="ADAL" clId="{7D6482DB-5D8D-4A82-8A0C-266FA76E1F3E}" dt="2025-02-06T12:02:24.176" v="1320" actId="1076"/>
          <ac:spMkLst>
            <pc:docMk/>
            <pc:sldMk cId="3191808338" sldId="2147483301"/>
            <ac:spMk id="11" creationId="{D28688D4-9C95-8B87-5B64-D4666CA04117}"/>
          </ac:spMkLst>
        </pc:spChg>
        <pc:spChg chg="mod">
          <ac:chgData name="Zainab Hasan Alhammadi زينب حسن الحمادي" userId="e5ea3ead-5cfb-4685-8d1d-bf28404dc0c4" providerId="ADAL" clId="{7D6482DB-5D8D-4A82-8A0C-266FA76E1F3E}" dt="2025-02-06T12:02:24.176" v="1320" actId="1076"/>
          <ac:spMkLst>
            <pc:docMk/>
            <pc:sldMk cId="3191808338" sldId="2147483301"/>
            <ac:spMk id="12" creationId="{93FE881D-1289-DE49-1BF6-BE6DA727B0B7}"/>
          </ac:spMkLst>
        </pc:spChg>
        <pc:spChg chg="mod">
          <ac:chgData name="Zainab Hasan Alhammadi زينب حسن الحمادي" userId="e5ea3ead-5cfb-4685-8d1d-bf28404dc0c4" providerId="ADAL" clId="{7D6482DB-5D8D-4A82-8A0C-266FA76E1F3E}" dt="2025-02-06T12:02:24.176" v="1320" actId="1076"/>
          <ac:spMkLst>
            <pc:docMk/>
            <pc:sldMk cId="3191808338" sldId="2147483301"/>
            <ac:spMk id="13" creationId="{68D39952-485A-941B-1762-A7F5D33294B1}"/>
          </ac:spMkLst>
        </pc:spChg>
        <pc:spChg chg="mod">
          <ac:chgData name="Zainab Hasan Alhammadi زينب حسن الحمادي" userId="e5ea3ead-5cfb-4685-8d1d-bf28404dc0c4" providerId="ADAL" clId="{7D6482DB-5D8D-4A82-8A0C-266FA76E1F3E}" dt="2025-02-06T12:02:24.176" v="1320" actId="1076"/>
          <ac:spMkLst>
            <pc:docMk/>
            <pc:sldMk cId="3191808338" sldId="2147483301"/>
            <ac:spMk id="14" creationId="{6D547866-CC02-42D0-B527-90A7C80FDBCC}"/>
          </ac:spMkLst>
        </pc:spChg>
        <pc:spChg chg="mod">
          <ac:chgData name="Zainab Hasan Alhammadi زينب حسن الحمادي" userId="e5ea3ead-5cfb-4685-8d1d-bf28404dc0c4" providerId="ADAL" clId="{7D6482DB-5D8D-4A82-8A0C-266FA76E1F3E}" dt="2025-02-06T12:02:31.526" v="1321" actId="1076"/>
          <ac:spMkLst>
            <pc:docMk/>
            <pc:sldMk cId="3191808338" sldId="2147483301"/>
            <ac:spMk id="19" creationId="{2F24E878-825C-1DFC-00D4-2D5655AFB4BE}"/>
          </ac:spMkLst>
        </pc:spChg>
        <pc:spChg chg="mod">
          <ac:chgData name="Zainab Hasan Alhammadi زينب حسن الحمادي" userId="e5ea3ead-5cfb-4685-8d1d-bf28404dc0c4" providerId="ADAL" clId="{7D6482DB-5D8D-4A82-8A0C-266FA76E1F3E}" dt="2025-02-06T12:02:31.526" v="1321" actId="1076"/>
          <ac:spMkLst>
            <pc:docMk/>
            <pc:sldMk cId="3191808338" sldId="2147483301"/>
            <ac:spMk id="24" creationId="{866412C1-A4F1-1988-75BF-BF29CDBB9781}"/>
          </ac:spMkLst>
        </pc:spChg>
        <pc:spChg chg="mod">
          <ac:chgData name="Zainab Hasan Alhammadi زينب حسن الحمادي" userId="e5ea3ead-5cfb-4685-8d1d-bf28404dc0c4" providerId="ADAL" clId="{7D6482DB-5D8D-4A82-8A0C-266FA76E1F3E}" dt="2025-02-06T12:02:31.526" v="1321" actId="1076"/>
          <ac:spMkLst>
            <pc:docMk/>
            <pc:sldMk cId="3191808338" sldId="2147483301"/>
            <ac:spMk id="25" creationId="{58B78D5E-E076-7BFF-3F41-F7B366A3E49E}"/>
          </ac:spMkLst>
        </pc:spChg>
        <pc:spChg chg="mod">
          <ac:chgData name="Zainab Hasan Alhammadi زينب حسن الحمادي" userId="e5ea3ead-5cfb-4685-8d1d-bf28404dc0c4" providerId="ADAL" clId="{7D6482DB-5D8D-4A82-8A0C-266FA76E1F3E}" dt="2025-02-06T12:02:31.526" v="1321" actId="1076"/>
          <ac:spMkLst>
            <pc:docMk/>
            <pc:sldMk cId="3191808338" sldId="2147483301"/>
            <ac:spMk id="28" creationId="{1045A5CE-EB51-DA48-9E9F-680CB2723895}"/>
          </ac:spMkLst>
        </pc:spChg>
        <pc:spChg chg="mod">
          <ac:chgData name="Zainab Hasan Alhammadi زينب حسن الحمادي" userId="e5ea3ead-5cfb-4685-8d1d-bf28404dc0c4" providerId="ADAL" clId="{7D6482DB-5D8D-4A82-8A0C-266FA76E1F3E}" dt="2025-02-06T12:02:39" v="1322" actId="1076"/>
          <ac:spMkLst>
            <pc:docMk/>
            <pc:sldMk cId="3191808338" sldId="2147483301"/>
            <ac:spMk id="35" creationId="{39F246FD-4A85-7C73-CF40-1CBD4980E8CC}"/>
          </ac:spMkLst>
        </pc:spChg>
        <pc:spChg chg="mod">
          <ac:chgData name="Zainab Hasan Alhammadi زينب حسن الحمادي" userId="e5ea3ead-5cfb-4685-8d1d-bf28404dc0c4" providerId="ADAL" clId="{7D6482DB-5D8D-4A82-8A0C-266FA76E1F3E}" dt="2025-02-06T12:02:39" v="1322" actId="1076"/>
          <ac:spMkLst>
            <pc:docMk/>
            <pc:sldMk cId="3191808338" sldId="2147483301"/>
            <ac:spMk id="36" creationId="{294021B6-9D16-E56B-3FC4-4A0AAC76FB71}"/>
          </ac:spMkLst>
        </pc:spChg>
        <pc:spChg chg="mod">
          <ac:chgData name="Zainab Hasan Alhammadi زينب حسن الحمادي" userId="e5ea3ead-5cfb-4685-8d1d-bf28404dc0c4" providerId="ADAL" clId="{7D6482DB-5D8D-4A82-8A0C-266FA76E1F3E}" dt="2025-02-06T12:02:39" v="1322" actId="1076"/>
          <ac:spMkLst>
            <pc:docMk/>
            <pc:sldMk cId="3191808338" sldId="2147483301"/>
            <ac:spMk id="37" creationId="{DCC2BE0C-2C99-7AFC-CBAA-B2499AD0BA44}"/>
          </ac:spMkLst>
        </pc:spChg>
        <pc:spChg chg="add mod">
          <ac:chgData name="Zainab Hasan Alhammadi زينب حسن الحمادي" userId="e5ea3ead-5cfb-4685-8d1d-bf28404dc0c4" providerId="ADAL" clId="{7D6482DB-5D8D-4A82-8A0C-266FA76E1F3E}" dt="2025-02-06T11:49:11.252" v="1059"/>
          <ac:spMkLst>
            <pc:docMk/>
            <pc:sldMk cId="3191808338" sldId="2147483301"/>
            <ac:spMk id="41" creationId="{D4EAFD18-07F2-6F69-6988-1623C896BFC6}"/>
          </ac:spMkLst>
        </pc:spChg>
        <pc:spChg chg="add mod">
          <ac:chgData name="Zainab Hasan Alhammadi زينب حسن الحمادي" userId="e5ea3ead-5cfb-4685-8d1d-bf28404dc0c4" providerId="ADAL" clId="{7D6482DB-5D8D-4A82-8A0C-266FA76E1F3E}" dt="2025-02-06T11:49:25.726" v="1060"/>
          <ac:spMkLst>
            <pc:docMk/>
            <pc:sldMk cId="3191808338" sldId="2147483301"/>
            <ac:spMk id="42" creationId="{F4366182-F67D-19A7-E5BD-1710DE5A94F9}"/>
          </ac:spMkLst>
        </pc:spChg>
        <pc:spChg chg="add mod">
          <ac:chgData name="Zainab Hasan Alhammadi زينب حسن الحمادي" userId="e5ea3ead-5cfb-4685-8d1d-bf28404dc0c4" providerId="ADAL" clId="{7D6482DB-5D8D-4A82-8A0C-266FA76E1F3E}" dt="2025-02-06T12:02:31.526" v="1321" actId="1076"/>
          <ac:spMkLst>
            <pc:docMk/>
            <pc:sldMk cId="3191808338" sldId="2147483301"/>
            <ac:spMk id="44" creationId="{7A9FB07E-7BAC-8096-8054-A0E075AA49D2}"/>
          </ac:spMkLst>
        </pc:spChg>
        <pc:spChg chg="add mod">
          <ac:chgData name="Zainab Hasan Alhammadi زينب حسن الحمادي" userId="e5ea3ead-5cfb-4685-8d1d-bf28404dc0c4" providerId="ADAL" clId="{7D6482DB-5D8D-4A82-8A0C-266FA76E1F3E}" dt="2025-02-06T12:02:31.526" v="1321" actId="1076"/>
          <ac:spMkLst>
            <pc:docMk/>
            <pc:sldMk cId="3191808338" sldId="2147483301"/>
            <ac:spMk id="45" creationId="{BE019A5C-828A-6A93-5AD4-E905CC15EEFA}"/>
          </ac:spMkLst>
        </pc:spChg>
        <pc:spChg chg="add mod">
          <ac:chgData name="Zainab Hasan Alhammadi زينب حسن الحمادي" userId="e5ea3ead-5cfb-4685-8d1d-bf28404dc0c4" providerId="ADAL" clId="{7D6482DB-5D8D-4A82-8A0C-266FA76E1F3E}" dt="2025-02-06T12:02:39" v="1322" actId="1076"/>
          <ac:spMkLst>
            <pc:docMk/>
            <pc:sldMk cId="3191808338" sldId="2147483301"/>
            <ac:spMk id="49" creationId="{BABCF153-6F1F-0C22-CB20-B1C7C05551F5}"/>
          </ac:spMkLst>
        </pc:spChg>
        <pc:spChg chg="add mod">
          <ac:chgData name="Zainab Hasan Alhammadi زينب حسن الحمادي" userId="e5ea3ead-5cfb-4685-8d1d-bf28404dc0c4" providerId="ADAL" clId="{7D6482DB-5D8D-4A82-8A0C-266FA76E1F3E}" dt="2025-02-06T12:02:24.176" v="1320" actId="1076"/>
          <ac:spMkLst>
            <pc:docMk/>
            <pc:sldMk cId="3191808338" sldId="2147483301"/>
            <ac:spMk id="52" creationId="{70072D07-A721-FE08-C10B-23134E8CA59A}"/>
          </ac:spMkLst>
        </pc:spChg>
        <pc:picChg chg="mod">
          <ac:chgData name="Zainab Hasan Alhammadi زينب حسن الحمادي" userId="e5ea3ead-5cfb-4685-8d1d-bf28404dc0c4" providerId="ADAL" clId="{7D6482DB-5D8D-4A82-8A0C-266FA76E1F3E}" dt="2025-02-06T12:02:24.176" v="1320" actId="1076"/>
          <ac:picMkLst>
            <pc:docMk/>
            <pc:sldMk cId="3191808338" sldId="2147483301"/>
            <ac:picMk id="15" creationId="{9877BF11-A9D5-C874-AFC4-151A0FCDC4CA}"/>
          </ac:picMkLst>
        </pc:picChg>
        <pc:picChg chg="mod">
          <ac:chgData name="Zainab Hasan Alhammadi زينب حسن الحمادي" userId="e5ea3ead-5cfb-4685-8d1d-bf28404dc0c4" providerId="ADAL" clId="{7D6482DB-5D8D-4A82-8A0C-266FA76E1F3E}" dt="2025-02-06T12:02:24.176" v="1320" actId="1076"/>
          <ac:picMkLst>
            <pc:docMk/>
            <pc:sldMk cId="3191808338" sldId="2147483301"/>
            <ac:picMk id="17" creationId="{4E16D402-5C41-DD7F-5EAD-CAAF96C54199}"/>
          </ac:picMkLst>
        </pc:picChg>
        <pc:picChg chg="mod">
          <ac:chgData name="Zainab Hasan Alhammadi زينب حسن الحمادي" userId="e5ea3ead-5cfb-4685-8d1d-bf28404dc0c4" providerId="ADAL" clId="{7D6482DB-5D8D-4A82-8A0C-266FA76E1F3E}" dt="2025-02-06T12:02:24.176" v="1320" actId="1076"/>
          <ac:picMkLst>
            <pc:docMk/>
            <pc:sldMk cId="3191808338" sldId="2147483301"/>
            <ac:picMk id="18" creationId="{01183836-0287-BDF7-5CE9-69C826B8DA6E}"/>
          </ac:picMkLst>
        </pc:picChg>
        <pc:picChg chg="mod">
          <ac:chgData name="Zainab Hasan Alhammadi زينب حسن الحمادي" userId="e5ea3ead-5cfb-4685-8d1d-bf28404dc0c4" providerId="ADAL" clId="{7D6482DB-5D8D-4A82-8A0C-266FA76E1F3E}" dt="2025-02-06T12:02:24.176" v="1320" actId="1076"/>
          <ac:picMkLst>
            <pc:docMk/>
            <pc:sldMk cId="3191808338" sldId="2147483301"/>
            <ac:picMk id="39" creationId="{488169A5-AA8B-0F5D-AAD1-3282633A4F60}"/>
          </ac:picMkLst>
        </pc:picChg>
        <pc:picChg chg="mod">
          <ac:chgData name="Zainab Hasan Alhammadi زينب حسن الحمادي" userId="e5ea3ead-5cfb-4685-8d1d-bf28404dc0c4" providerId="ADAL" clId="{7D6482DB-5D8D-4A82-8A0C-266FA76E1F3E}" dt="2025-02-06T12:02:31.526" v="1321" actId="1076"/>
          <ac:picMkLst>
            <pc:docMk/>
            <pc:sldMk cId="3191808338" sldId="2147483301"/>
            <ac:picMk id="40" creationId="{DD92797B-F7EA-219D-F2E9-6214ACC14492}"/>
          </ac:picMkLst>
        </pc:picChg>
        <pc:cxnChg chg="mod">
          <ac:chgData name="Zainab Hasan Alhammadi زينب حسن الحمادي" userId="e5ea3ead-5cfb-4685-8d1d-bf28404dc0c4" providerId="ADAL" clId="{7D6482DB-5D8D-4A82-8A0C-266FA76E1F3E}" dt="2025-02-06T12:02:31.526" v="1321" actId="1076"/>
          <ac:cxnSpMkLst>
            <pc:docMk/>
            <pc:sldMk cId="3191808338" sldId="2147483301"/>
            <ac:cxnSpMk id="20" creationId="{2076C58F-A4F3-B395-FDEA-BDC55CD25958}"/>
          </ac:cxnSpMkLst>
        </pc:cxnChg>
        <pc:cxnChg chg="mod">
          <ac:chgData name="Zainab Hasan Alhammadi زينب حسن الحمادي" userId="e5ea3ead-5cfb-4685-8d1d-bf28404dc0c4" providerId="ADAL" clId="{7D6482DB-5D8D-4A82-8A0C-266FA76E1F3E}" dt="2025-02-06T12:02:31.526" v="1321" actId="1076"/>
          <ac:cxnSpMkLst>
            <pc:docMk/>
            <pc:sldMk cId="3191808338" sldId="2147483301"/>
            <ac:cxnSpMk id="21" creationId="{926D0C6B-05A7-62A5-27BA-86619A1DE688}"/>
          </ac:cxnSpMkLst>
        </pc:cxnChg>
        <pc:cxnChg chg="mod">
          <ac:chgData name="Zainab Hasan Alhammadi زينب حسن الحمادي" userId="e5ea3ead-5cfb-4685-8d1d-bf28404dc0c4" providerId="ADAL" clId="{7D6482DB-5D8D-4A82-8A0C-266FA76E1F3E}" dt="2025-02-06T12:02:31.526" v="1321" actId="1076"/>
          <ac:cxnSpMkLst>
            <pc:docMk/>
            <pc:sldMk cId="3191808338" sldId="2147483301"/>
            <ac:cxnSpMk id="23" creationId="{2E007CA5-2405-B40A-F066-52B4C15E4CD2}"/>
          </ac:cxnSpMkLst>
        </pc:cxnChg>
        <pc:cxnChg chg="mod">
          <ac:chgData name="Zainab Hasan Alhammadi زينب حسن الحمادي" userId="e5ea3ead-5cfb-4685-8d1d-bf28404dc0c4" providerId="ADAL" clId="{7D6482DB-5D8D-4A82-8A0C-266FA76E1F3E}" dt="2025-02-06T11:53:43.883" v="1168" actId="1036"/>
          <ac:cxnSpMkLst>
            <pc:docMk/>
            <pc:sldMk cId="3191808338" sldId="2147483301"/>
            <ac:cxnSpMk id="29" creationId="{961DEDD7-9AE0-2F97-3B81-1CBA86613349}"/>
          </ac:cxnSpMkLst>
        </pc:cxnChg>
        <pc:cxnChg chg="mod">
          <ac:chgData name="Zainab Hasan Alhammadi زينب حسن الحمادي" userId="e5ea3ead-5cfb-4685-8d1d-bf28404dc0c4" providerId="ADAL" clId="{7D6482DB-5D8D-4A82-8A0C-266FA76E1F3E}" dt="2025-02-06T12:02:39" v="1322" actId="1076"/>
          <ac:cxnSpMkLst>
            <pc:docMk/>
            <pc:sldMk cId="3191808338" sldId="2147483301"/>
            <ac:cxnSpMk id="33" creationId="{66E77DAA-6AEF-6CCD-41CB-37462E38A5E3}"/>
          </ac:cxnSpMkLst>
        </pc:cxnChg>
        <pc:cxnChg chg="mod">
          <ac:chgData name="Zainab Hasan Alhammadi زينب حسن الحمادي" userId="e5ea3ead-5cfb-4685-8d1d-bf28404dc0c4" providerId="ADAL" clId="{7D6482DB-5D8D-4A82-8A0C-266FA76E1F3E}" dt="2025-02-06T12:02:39" v="1322" actId="1076"/>
          <ac:cxnSpMkLst>
            <pc:docMk/>
            <pc:sldMk cId="3191808338" sldId="2147483301"/>
            <ac:cxnSpMk id="34" creationId="{2E31C530-8252-9043-9537-03067E6F8C5C}"/>
          </ac:cxnSpMkLst>
        </pc:cxnChg>
        <pc:cxnChg chg="add mod">
          <ac:chgData name="Zainab Hasan Alhammadi زينب حسن الحمادي" userId="e5ea3ead-5cfb-4685-8d1d-bf28404dc0c4" providerId="ADAL" clId="{7D6482DB-5D8D-4A82-8A0C-266FA76E1F3E}" dt="2025-02-06T11:49:11.252" v="1059"/>
          <ac:cxnSpMkLst>
            <pc:docMk/>
            <pc:sldMk cId="3191808338" sldId="2147483301"/>
            <ac:cxnSpMk id="43" creationId="{C28EEC78-3B20-FF49-E9AE-2984F4B23413}"/>
          </ac:cxnSpMkLst>
        </pc:cxnChg>
        <pc:cxnChg chg="add mod">
          <ac:chgData name="Zainab Hasan Alhammadi زينب حسن الحمادي" userId="e5ea3ead-5cfb-4685-8d1d-bf28404dc0c4" providerId="ADAL" clId="{7D6482DB-5D8D-4A82-8A0C-266FA76E1F3E}" dt="2025-02-06T12:02:39" v="1322" actId="1076"/>
          <ac:cxnSpMkLst>
            <pc:docMk/>
            <pc:sldMk cId="3191808338" sldId="2147483301"/>
            <ac:cxnSpMk id="50" creationId="{708CCCA7-41EF-3D49-33F1-1EC6B462751B}"/>
          </ac:cxnSpMkLst>
        </pc:cxnChg>
        <pc:cxnChg chg="add mod">
          <ac:chgData name="Zainab Hasan Alhammadi زينب حسن الحمادي" userId="e5ea3ead-5cfb-4685-8d1d-bf28404dc0c4" providerId="ADAL" clId="{7D6482DB-5D8D-4A82-8A0C-266FA76E1F3E}" dt="2025-02-06T12:02:39" v="1322" actId="1076"/>
          <ac:cxnSpMkLst>
            <pc:docMk/>
            <pc:sldMk cId="3191808338" sldId="2147483301"/>
            <ac:cxnSpMk id="51" creationId="{8831C17B-D6D0-1D3B-6D48-84EC4BC87D09}"/>
          </ac:cxnSpMkLst>
        </pc:cxnChg>
        <pc:cxnChg chg="add mod">
          <ac:chgData name="Zainab Hasan Alhammadi زينب حسن الحمادي" userId="e5ea3ead-5cfb-4685-8d1d-bf28404dc0c4" providerId="ADAL" clId="{7D6482DB-5D8D-4A82-8A0C-266FA76E1F3E}" dt="2025-02-06T11:57:48.014" v="1238" actId="1035"/>
          <ac:cxnSpMkLst>
            <pc:docMk/>
            <pc:sldMk cId="3191808338" sldId="2147483301"/>
            <ac:cxnSpMk id="53" creationId="{253FE364-C15B-52A3-F5A5-679441AD510E}"/>
          </ac:cxnSpMkLst>
        </pc:cxnChg>
        <pc:cxnChg chg="add mod">
          <ac:chgData name="Zainab Hasan Alhammadi زينب حسن الحمادي" userId="e5ea3ead-5cfb-4685-8d1d-bf28404dc0c4" providerId="ADAL" clId="{7D6482DB-5D8D-4A82-8A0C-266FA76E1F3E}" dt="2025-02-06T11:57:42.486" v="1234" actId="1036"/>
          <ac:cxnSpMkLst>
            <pc:docMk/>
            <pc:sldMk cId="3191808338" sldId="2147483301"/>
            <ac:cxnSpMk id="54" creationId="{B2163DC0-9AE7-6FDE-BFE7-891357D4A5E8}"/>
          </ac:cxnSpMkLst>
        </pc:cxnChg>
      </pc:sldChg>
      <pc:sldChg chg="modSp add mod">
        <pc:chgData name="Zainab Hasan Alhammadi زينب حسن الحمادي" userId="e5ea3ead-5cfb-4685-8d1d-bf28404dc0c4" providerId="ADAL" clId="{7D6482DB-5D8D-4A82-8A0C-266FA76E1F3E}" dt="2025-02-06T12:03:22.523" v="1354" actId="2711"/>
        <pc:sldMkLst>
          <pc:docMk/>
          <pc:sldMk cId="627208780" sldId="2147483302"/>
        </pc:sldMkLst>
        <pc:spChg chg="mod">
          <ac:chgData name="Zainab Hasan Alhammadi زينب حسن الحمادي" userId="e5ea3ead-5cfb-4685-8d1d-bf28404dc0c4" providerId="ADAL" clId="{7D6482DB-5D8D-4A82-8A0C-266FA76E1F3E}" dt="2025-02-06T12:03:22.523" v="1354" actId="2711"/>
          <ac:spMkLst>
            <pc:docMk/>
            <pc:sldMk cId="627208780" sldId="2147483302"/>
            <ac:spMk id="2" creationId="{A34E2138-53EF-2E0C-0ED8-3409524BFF47}"/>
          </ac:spMkLst>
        </pc:spChg>
      </pc:sldChg>
      <pc:sldChg chg="addSp delSp modSp add mod">
        <pc:chgData name="Zainab Hasan Alhammadi زينب حسن الحمادي" userId="e5ea3ead-5cfb-4685-8d1d-bf28404dc0c4" providerId="ADAL" clId="{7D6482DB-5D8D-4A82-8A0C-266FA76E1F3E}" dt="2025-02-06T12:08:27.186" v="1503" actId="14100"/>
        <pc:sldMkLst>
          <pc:docMk/>
          <pc:sldMk cId="970864383" sldId="2147483303"/>
        </pc:sldMkLst>
        <pc:spChg chg="add mod">
          <ac:chgData name="Zainab Hasan Alhammadi زينب حسن الحمادي" userId="e5ea3ead-5cfb-4685-8d1d-bf28404dc0c4" providerId="ADAL" clId="{7D6482DB-5D8D-4A82-8A0C-266FA76E1F3E}" dt="2025-02-06T12:08:20.567" v="1502" actId="14100"/>
          <ac:spMkLst>
            <pc:docMk/>
            <pc:sldMk cId="970864383" sldId="2147483303"/>
            <ac:spMk id="10" creationId="{C15742D4-F55F-AF5D-A566-943FDA34158D}"/>
          </ac:spMkLst>
        </pc:spChg>
        <pc:spChg chg="add del mod">
          <ac:chgData name="Zainab Hasan Alhammadi زينب حسن الحمادي" userId="e5ea3ead-5cfb-4685-8d1d-bf28404dc0c4" providerId="ADAL" clId="{7D6482DB-5D8D-4A82-8A0C-266FA76E1F3E}" dt="2025-02-06T12:04:49.271" v="1375"/>
          <ac:spMkLst>
            <pc:docMk/>
            <pc:sldMk cId="970864383" sldId="2147483303"/>
            <ac:spMk id="11" creationId="{A6716063-FBC2-B5DC-ED84-6518BF72DFC1}"/>
          </ac:spMkLst>
        </pc:spChg>
        <pc:spChg chg="add del mod">
          <ac:chgData name="Zainab Hasan Alhammadi زينب حسن الحمادي" userId="e5ea3ead-5cfb-4685-8d1d-bf28404dc0c4" providerId="ADAL" clId="{7D6482DB-5D8D-4A82-8A0C-266FA76E1F3E}" dt="2025-02-06T12:07:50.871" v="1479" actId="1036"/>
          <ac:spMkLst>
            <pc:docMk/>
            <pc:sldMk cId="970864383" sldId="2147483303"/>
            <ac:spMk id="13" creationId="{004F1E39-8872-C439-D63F-8821673C0B44}"/>
          </ac:spMkLst>
        </pc:spChg>
        <pc:spChg chg="add mod">
          <ac:chgData name="Zainab Hasan Alhammadi زينب حسن الحمادي" userId="e5ea3ead-5cfb-4685-8d1d-bf28404dc0c4" providerId="ADAL" clId="{7D6482DB-5D8D-4A82-8A0C-266FA76E1F3E}" dt="2025-02-06T12:07:59.905" v="1498" actId="1037"/>
          <ac:spMkLst>
            <pc:docMk/>
            <pc:sldMk cId="970864383" sldId="2147483303"/>
            <ac:spMk id="14" creationId="{3BECF70C-88D4-E9F7-B4A0-B44D5CA118CD}"/>
          </ac:spMkLst>
        </pc:spChg>
        <pc:spChg chg="add mod">
          <ac:chgData name="Zainab Hasan Alhammadi زينب حسن الحمادي" userId="e5ea3ead-5cfb-4685-8d1d-bf28404dc0c4" providerId="ADAL" clId="{7D6482DB-5D8D-4A82-8A0C-266FA76E1F3E}" dt="2025-02-06T12:08:27.186" v="1503" actId="14100"/>
          <ac:spMkLst>
            <pc:docMk/>
            <pc:sldMk cId="970864383" sldId="2147483303"/>
            <ac:spMk id="16" creationId="{C66036BA-15D7-AB53-FDF8-C85F0365D8E1}"/>
          </ac:spMkLst>
        </pc:spChg>
        <pc:picChg chg="mod">
          <ac:chgData name="Zainab Hasan Alhammadi زينب حسن الحمادي" userId="e5ea3ead-5cfb-4685-8d1d-bf28404dc0c4" providerId="ADAL" clId="{7D6482DB-5D8D-4A82-8A0C-266FA76E1F3E}" dt="2025-02-06T12:04:32.391" v="1374" actId="1076"/>
          <ac:picMkLst>
            <pc:docMk/>
            <pc:sldMk cId="970864383" sldId="2147483303"/>
            <ac:picMk id="8" creationId="{7806775E-C780-12C0-4C33-66E8CCBA2ED2}"/>
          </ac:picMkLst>
        </pc:picChg>
        <pc:cxnChg chg="add mod">
          <ac:chgData name="Zainab Hasan Alhammadi زينب حسن الحمادي" userId="e5ea3ead-5cfb-4685-8d1d-bf28404dc0c4" providerId="ADAL" clId="{7D6482DB-5D8D-4A82-8A0C-266FA76E1F3E}" dt="2025-02-06T12:03:42.056" v="1356"/>
          <ac:cxnSpMkLst>
            <pc:docMk/>
            <pc:sldMk cId="970864383" sldId="2147483303"/>
            <ac:cxnSpMk id="12" creationId="{A6118837-8960-D51D-D241-36F10D27B9B7}"/>
          </ac:cxnSpMkLst>
        </pc:cxnChg>
        <pc:cxnChg chg="add mod">
          <ac:chgData name="Zainab Hasan Alhammadi زينب حسن الحمادي" userId="e5ea3ead-5cfb-4685-8d1d-bf28404dc0c4" providerId="ADAL" clId="{7D6482DB-5D8D-4A82-8A0C-266FA76E1F3E}" dt="2025-02-06T12:07:50.871" v="1479" actId="1036"/>
          <ac:cxnSpMkLst>
            <pc:docMk/>
            <pc:sldMk cId="970864383" sldId="2147483303"/>
            <ac:cxnSpMk id="15" creationId="{7C656375-9C46-29D5-EF3E-50F6B2EC69DB}"/>
          </ac:cxnSpMkLst>
        </pc:cxnChg>
      </pc:sldChg>
      <pc:sldChg chg="addSp delSp modSp add mod">
        <pc:chgData name="Zainab Hasan Alhammadi زينب حسن الحمادي" userId="e5ea3ead-5cfb-4685-8d1d-bf28404dc0c4" providerId="ADAL" clId="{7D6482DB-5D8D-4A82-8A0C-266FA76E1F3E}" dt="2025-02-06T12:11:14.671" v="1531" actId="1076"/>
        <pc:sldMkLst>
          <pc:docMk/>
          <pc:sldMk cId="683476263" sldId="2147483304"/>
        </pc:sldMkLst>
        <pc:spChg chg="add mod">
          <ac:chgData name="Zainab Hasan Alhammadi زينب حسن الحمادي" userId="e5ea3ead-5cfb-4685-8d1d-bf28404dc0c4" providerId="ADAL" clId="{7D6482DB-5D8D-4A82-8A0C-266FA76E1F3E}" dt="2025-02-06T12:08:40.009" v="1506"/>
          <ac:spMkLst>
            <pc:docMk/>
            <pc:sldMk cId="683476263" sldId="2147483304"/>
            <ac:spMk id="17" creationId="{ADEB1BB5-61B2-E91D-F95E-871795545686}"/>
          </ac:spMkLst>
        </pc:spChg>
        <pc:spChg chg="add mod">
          <ac:chgData name="Zainab Hasan Alhammadi زينب حسن الحمادي" userId="e5ea3ead-5cfb-4685-8d1d-bf28404dc0c4" providerId="ADAL" clId="{7D6482DB-5D8D-4A82-8A0C-266FA76E1F3E}" dt="2025-02-06T12:08:52.635" v="1507"/>
          <ac:spMkLst>
            <pc:docMk/>
            <pc:sldMk cId="683476263" sldId="2147483304"/>
            <ac:spMk id="18" creationId="{01E21039-5A51-ED93-7F00-F4EBF472B8E6}"/>
          </ac:spMkLst>
        </pc:spChg>
        <pc:spChg chg="add mod">
          <ac:chgData name="Zainab Hasan Alhammadi زينب حسن الحمادي" userId="e5ea3ead-5cfb-4685-8d1d-bf28404dc0c4" providerId="ADAL" clId="{7D6482DB-5D8D-4A82-8A0C-266FA76E1F3E}" dt="2025-02-06T12:10:23.800" v="1517" actId="208"/>
          <ac:spMkLst>
            <pc:docMk/>
            <pc:sldMk cId="683476263" sldId="2147483304"/>
            <ac:spMk id="21" creationId="{F3DFB361-4DD5-F560-B99F-0B4D5FE00F69}"/>
          </ac:spMkLst>
        </pc:spChg>
        <pc:spChg chg="add mod">
          <ac:chgData name="Zainab Hasan Alhammadi زينب حسن الحمادي" userId="e5ea3ead-5cfb-4685-8d1d-bf28404dc0c4" providerId="ADAL" clId="{7D6482DB-5D8D-4A82-8A0C-266FA76E1F3E}" dt="2025-02-06T12:10:23.800" v="1517" actId="208"/>
          <ac:spMkLst>
            <pc:docMk/>
            <pc:sldMk cId="683476263" sldId="2147483304"/>
            <ac:spMk id="22" creationId="{2618C010-1BFE-0313-A7B0-D9AF85BB66D9}"/>
          </ac:spMkLst>
        </pc:spChg>
        <pc:spChg chg="add mod">
          <ac:chgData name="Zainab Hasan Alhammadi زينب حسن الحمادي" userId="e5ea3ead-5cfb-4685-8d1d-bf28404dc0c4" providerId="ADAL" clId="{7D6482DB-5D8D-4A82-8A0C-266FA76E1F3E}" dt="2025-02-06T12:10:23.800" v="1517" actId="208"/>
          <ac:spMkLst>
            <pc:docMk/>
            <pc:sldMk cId="683476263" sldId="2147483304"/>
            <ac:spMk id="23" creationId="{F4F95A70-BB13-771C-E74A-AAAB0E7EF3A4}"/>
          </ac:spMkLst>
        </pc:spChg>
        <pc:spChg chg="add mod">
          <ac:chgData name="Zainab Hasan Alhammadi زينب حسن الحمادي" userId="e5ea3ead-5cfb-4685-8d1d-bf28404dc0c4" providerId="ADAL" clId="{7D6482DB-5D8D-4A82-8A0C-266FA76E1F3E}" dt="2025-02-06T12:10:23.800" v="1517" actId="208"/>
          <ac:spMkLst>
            <pc:docMk/>
            <pc:sldMk cId="683476263" sldId="2147483304"/>
            <ac:spMk id="24" creationId="{A018BFE3-C6DB-7074-9098-3E7D66622660}"/>
          </ac:spMkLst>
        </pc:spChg>
        <pc:spChg chg="add mod">
          <ac:chgData name="Zainab Hasan Alhammadi زينب حسن الحمادي" userId="e5ea3ead-5cfb-4685-8d1d-bf28404dc0c4" providerId="ADAL" clId="{7D6482DB-5D8D-4A82-8A0C-266FA76E1F3E}" dt="2025-02-06T12:10:23.800" v="1517" actId="208"/>
          <ac:spMkLst>
            <pc:docMk/>
            <pc:sldMk cId="683476263" sldId="2147483304"/>
            <ac:spMk id="25" creationId="{83FCA751-499F-4D76-CC93-E64BF88ED4FF}"/>
          </ac:spMkLst>
        </pc:spChg>
        <pc:spChg chg="mod">
          <ac:chgData name="Zainab Hasan Alhammadi زينب حسن الحمادي" userId="e5ea3ead-5cfb-4685-8d1d-bf28404dc0c4" providerId="ADAL" clId="{7D6482DB-5D8D-4A82-8A0C-266FA76E1F3E}" dt="2025-02-06T12:11:14.671" v="1531" actId="1076"/>
          <ac:spMkLst>
            <pc:docMk/>
            <pc:sldMk cId="683476263" sldId="2147483304"/>
            <ac:spMk id="26" creationId="{52C8CFE8-85C8-6078-6B88-BD771F0018FF}"/>
          </ac:spMkLst>
        </pc:spChg>
        <pc:spChg chg="add mod">
          <ac:chgData name="Zainab Hasan Alhammadi زينب حسن الحمادي" userId="e5ea3ead-5cfb-4685-8d1d-bf28404dc0c4" providerId="ADAL" clId="{7D6482DB-5D8D-4A82-8A0C-266FA76E1F3E}" dt="2025-02-06T12:10:08.311" v="1515" actId="207"/>
          <ac:spMkLst>
            <pc:docMk/>
            <pc:sldMk cId="683476263" sldId="2147483304"/>
            <ac:spMk id="27" creationId="{DA252186-5CF8-F552-2AE8-E4467EB8DB6F}"/>
          </ac:spMkLst>
        </pc:spChg>
        <pc:spChg chg="mod">
          <ac:chgData name="Zainab Hasan Alhammadi زينب حسن الحمادي" userId="e5ea3ead-5cfb-4685-8d1d-bf28404dc0c4" providerId="ADAL" clId="{7D6482DB-5D8D-4A82-8A0C-266FA76E1F3E}" dt="2025-02-06T12:10:58.486" v="1526" actId="1076"/>
          <ac:spMkLst>
            <pc:docMk/>
            <pc:sldMk cId="683476263" sldId="2147483304"/>
            <ac:spMk id="28" creationId="{265D6318-F260-7155-EAD6-CBA3F1FFE054}"/>
          </ac:spMkLst>
        </pc:spChg>
        <pc:spChg chg="add mod">
          <ac:chgData name="Zainab Hasan Alhammadi زينب حسن الحمادي" userId="e5ea3ead-5cfb-4685-8d1d-bf28404dc0c4" providerId="ADAL" clId="{7D6482DB-5D8D-4A82-8A0C-266FA76E1F3E}" dt="2025-02-06T12:10:08.311" v="1515" actId="207"/>
          <ac:spMkLst>
            <pc:docMk/>
            <pc:sldMk cId="683476263" sldId="2147483304"/>
            <ac:spMk id="29" creationId="{6D057188-1036-78B6-AB04-10023A9611B2}"/>
          </ac:spMkLst>
        </pc:spChg>
        <pc:spChg chg="add mod">
          <ac:chgData name="Zainab Hasan Alhammadi زينب حسن الحمادي" userId="e5ea3ead-5cfb-4685-8d1d-bf28404dc0c4" providerId="ADAL" clId="{7D6482DB-5D8D-4A82-8A0C-266FA76E1F3E}" dt="2025-02-06T12:11:08.158" v="1530" actId="1076"/>
          <ac:spMkLst>
            <pc:docMk/>
            <pc:sldMk cId="683476263" sldId="2147483304"/>
            <ac:spMk id="30" creationId="{0EDCDE23-E95B-2947-0487-1098715DDDD7}"/>
          </ac:spMkLst>
        </pc:spChg>
        <pc:spChg chg="add mod">
          <ac:chgData name="Zainab Hasan Alhammadi زينب حسن الحمادي" userId="e5ea3ead-5cfb-4685-8d1d-bf28404dc0c4" providerId="ADAL" clId="{7D6482DB-5D8D-4A82-8A0C-266FA76E1F3E}" dt="2025-02-06T12:11:04.203" v="1528" actId="1076"/>
          <ac:spMkLst>
            <pc:docMk/>
            <pc:sldMk cId="683476263" sldId="2147483304"/>
            <ac:spMk id="31" creationId="{C555CE8C-E0A5-BCA3-C15D-F699868B3E0E}"/>
          </ac:spMkLst>
        </pc:spChg>
        <pc:spChg chg="add mod">
          <ac:chgData name="Zainab Hasan Alhammadi زينب حسن الحمادي" userId="e5ea3ead-5cfb-4685-8d1d-bf28404dc0c4" providerId="ADAL" clId="{7D6482DB-5D8D-4A82-8A0C-266FA76E1F3E}" dt="2025-02-06T12:10:52.475" v="1524" actId="404"/>
          <ac:spMkLst>
            <pc:docMk/>
            <pc:sldMk cId="683476263" sldId="2147483304"/>
            <ac:spMk id="32" creationId="{3D4688E8-FB7F-12E7-85B6-972651E1FC17}"/>
          </ac:spMkLst>
        </pc:spChg>
        <pc:cxnChg chg="add mod">
          <ac:chgData name="Zainab Hasan Alhammadi زينب حسن الحمادي" userId="e5ea3ead-5cfb-4685-8d1d-bf28404dc0c4" providerId="ADAL" clId="{7D6482DB-5D8D-4A82-8A0C-266FA76E1F3E}" dt="2025-02-06T12:09:07.891" v="1508" actId="14100"/>
          <ac:cxnSpMkLst>
            <pc:docMk/>
            <pc:sldMk cId="683476263" sldId="2147483304"/>
            <ac:cxnSpMk id="19" creationId="{B8847839-6F2B-16CB-E016-5BC34E660C65}"/>
          </ac:cxnSpMkLst>
        </pc:cxnChg>
      </pc:sldChg>
      <pc:sldChg chg="addSp delSp modSp add mod">
        <pc:chgData name="Zainab Hasan Alhammadi زينب حسن الحمادي" userId="e5ea3ead-5cfb-4685-8d1d-bf28404dc0c4" providerId="ADAL" clId="{7D6482DB-5D8D-4A82-8A0C-266FA76E1F3E}" dt="2025-02-06T12:12:35.707" v="1542" actId="1076"/>
        <pc:sldMkLst>
          <pc:docMk/>
          <pc:sldMk cId="306703834" sldId="2147483305"/>
        </pc:sldMkLst>
      </pc:sldChg>
      <pc:sldChg chg="modSp add mod">
        <pc:chgData name="Zainab Hasan Alhammadi زينب حسن الحمادي" userId="e5ea3ead-5cfb-4685-8d1d-bf28404dc0c4" providerId="ADAL" clId="{7D6482DB-5D8D-4A82-8A0C-266FA76E1F3E}" dt="2025-02-06T12:12:55.783" v="1545" actId="2711"/>
        <pc:sldMkLst>
          <pc:docMk/>
          <pc:sldMk cId="3262265292" sldId="2147483306"/>
        </pc:sldMkLst>
        <pc:spChg chg="mod">
          <ac:chgData name="Zainab Hasan Alhammadi زينب حسن الحمادي" userId="e5ea3ead-5cfb-4685-8d1d-bf28404dc0c4" providerId="ADAL" clId="{7D6482DB-5D8D-4A82-8A0C-266FA76E1F3E}" dt="2025-02-06T12:12:55.783" v="1545" actId="2711"/>
          <ac:spMkLst>
            <pc:docMk/>
            <pc:sldMk cId="3262265292" sldId="2147483306"/>
            <ac:spMk id="2" creationId="{63C881BE-FE00-362B-3E9B-80F744136854}"/>
          </ac:spMkLst>
        </pc:spChg>
      </pc:sldChg>
      <pc:sldChg chg="addSp delSp modSp add mod">
        <pc:chgData name="Zainab Hasan Alhammadi زينب حسن الحمادي" userId="e5ea3ead-5cfb-4685-8d1d-bf28404dc0c4" providerId="ADAL" clId="{7D6482DB-5D8D-4A82-8A0C-266FA76E1F3E}" dt="2025-02-06T12:14:05.900" v="1557"/>
        <pc:sldMkLst>
          <pc:docMk/>
          <pc:sldMk cId="4219572843" sldId="2147483307"/>
        </pc:sldMkLst>
        <pc:spChg chg="add mod">
          <ac:chgData name="Zainab Hasan Alhammadi زينب حسن الحمادي" userId="e5ea3ead-5cfb-4685-8d1d-bf28404dc0c4" providerId="ADAL" clId="{7D6482DB-5D8D-4A82-8A0C-266FA76E1F3E}" dt="2025-02-06T12:13:55.174" v="1556"/>
          <ac:spMkLst>
            <pc:docMk/>
            <pc:sldMk cId="4219572843" sldId="2147483307"/>
            <ac:spMk id="6" creationId="{C22D2EB4-F09C-8A2C-7D2E-BA01AEF7C3FF}"/>
          </ac:spMkLst>
        </pc:spChg>
        <pc:spChg chg="add mod">
          <ac:chgData name="Zainab Hasan Alhammadi زينب حسن الحمادي" userId="e5ea3ead-5cfb-4685-8d1d-bf28404dc0c4" providerId="ADAL" clId="{7D6482DB-5D8D-4A82-8A0C-266FA76E1F3E}" dt="2025-02-06T12:14:05.900" v="1557"/>
          <ac:spMkLst>
            <pc:docMk/>
            <pc:sldMk cId="4219572843" sldId="2147483307"/>
            <ac:spMk id="8" creationId="{410F9F31-2B3E-CE8F-4DCC-B17213BE1A94}"/>
          </ac:spMkLst>
        </pc:spChg>
        <pc:graphicFrameChg chg="add mod">
          <ac:chgData name="Zainab Hasan Alhammadi زينب حسن الحمادي" userId="e5ea3ead-5cfb-4685-8d1d-bf28404dc0c4" providerId="ADAL" clId="{7D6482DB-5D8D-4A82-8A0C-266FA76E1F3E}" dt="2025-02-06T12:13:33.135" v="1552" actId="207"/>
          <ac:graphicFrameMkLst>
            <pc:docMk/>
            <pc:sldMk cId="4219572843" sldId="2147483307"/>
            <ac:graphicFrameMk id="5" creationId="{F0DF30CB-A892-CC0C-47D7-909376F93BD9}"/>
          </ac:graphicFrameMkLst>
        </pc:graphicFrameChg>
        <pc:cxnChg chg="add mod">
          <ac:chgData name="Zainab Hasan Alhammadi زينب حسن الحمادي" userId="e5ea3ead-5cfb-4685-8d1d-bf28404dc0c4" providerId="ADAL" clId="{7D6482DB-5D8D-4A82-8A0C-266FA76E1F3E}" dt="2025-02-06T12:13:55.174" v="1556"/>
          <ac:cxnSpMkLst>
            <pc:docMk/>
            <pc:sldMk cId="4219572843" sldId="2147483307"/>
            <ac:cxnSpMk id="9" creationId="{EC01D1B5-B31B-DD50-A08B-2B988699C676}"/>
          </ac:cxnSpMkLst>
        </pc:cxnChg>
      </pc:sldChg>
      <pc:sldChg chg="addSp delSp modSp add mod">
        <pc:chgData name="Zainab Hasan Alhammadi زينب حسن الحمادي" userId="e5ea3ead-5cfb-4685-8d1d-bf28404dc0c4" providerId="ADAL" clId="{7D6482DB-5D8D-4A82-8A0C-266FA76E1F3E}" dt="2025-02-06T12:15:04.661" v="1571" actId="1076"/>
        <pc:sldMkLst>
          <pc:docMk/>
          <pc:sldMk cId="1596519688" sldId="2147483308"/>
        </pc:sldMkLst>
        <pc:spChg chg="add mod">
          <ac:chgData name="Zainab Hasan Alhammadi زينب حسن الحمادي" userId="e5ea3ead-5cfb-4685-8d1d-bf28404dc0c4" providerId="ADAL" clId="{7D6482DB-5D8D-4A82-8A0C-266FA76E1F3E}" dt="2025-02-06T12:14:24.930" v="1561"/>
          <ac:spMkLst>
            <pc:docMk/>
            <pc:sldMk cId="1596519688" sldId="2147483308"/>
            <ac:spMk id="5" creationId="{15ACB411-2169-215B-421C-172868DABFA6}"/>
          </ac:spMkLst>
        </pc:spChg>
        <pc:spChg chg="add mod">
          <ac:chgData name="Zainab Hasan Alhammadi زينب حسن الحمادي" userId="e5ea3ead-5cfb-4685-8d1d-bf28404dc0c4" providerId="ADAL" clId="{7D6482DB-5D8D-4A82-8A0C-266FA76E1F3E}" dt="2025-02-06T12:14:35.756" v="1562"/>
          <ac:spMkLst>
            <pc:docMk/>
            <pc:sldMk cId="1596519688" sldId="2147483308"/>
            <ac:spMk id="6" creationId="{A498C180-09C8-6D0E-3DCC-5714DE586BD3}"/>
          </ac:spMkLst>
        </pc:spChg>
        <pc:spChg chg="add mod">
          <ac:chgData name="Zainab Hasan Alhammadi زينب حسن الحمادي" userId="e5ea3ead-5cfb-4685-8d1d-bf28404dc0c4" providerId="ADAL" clId="{7D6482DB-5D8D-4A82-8A0C-266FA76E1F3E}" dt="2025-02-06T12:15:04.661" v="1571" actId="1076"/>
          <ac:spMkLst>
            <pc:docMk/>
            <pc:sldMk cId="1596519688" sldId="2147483308"/>
            <ac:spMk id="8" creationId="{32567B56-1E03-6187-7524-4D97125C1933}"/>
          </ac:spMkLst>
        </pc:spChg>
        <pc:picChg chg="mod">
          <ac:chgData name="Zainab Hasan Alhammadi زينب حسن الحمادي" userId="e5ea3ead-5cfb-4685-8d1d-bf28404dc0c4" providerId="ADAL" clId="{7D6482DB-5D8D-4A82-8A0C-266FA76E1F3E}" dt="2025-02-06T12:14:43.614" v="1565" actId="1076"/>
          <ac:picMkLst>
            <pc:docMk/>
            <pc:sldMk cId="1596519688" sldId="2147483308"/>
            <ac:picMk id="13" creationId="{6E06301C-66C5-7D81-CDF2-BAC9B34597BE}"/>
          </ac:picMkLst>
        </pc:picChg>
        <pc:cxnChg chg="add mod">
          <ac:chgData name="Zainab Hasan Alhammadi زينب حسن الحمادي" userId="e5ea3ead-5cfb-4685-8d1d-bf28404dc0c4" providerId="ADAL" clId="{7D6482DB-5D8D-4A82-8A0C-266FA76E1F3E}" dt="2025-02-06T12:14:24.930" v="1561"/>
          <ac:cxnSpMkLst>
            <pc:docMk/>
            <pc:sldMk cId="1596519688" sldId="2147483308"/>
            <ac:cxnSpMk id="7" creationId="{C4CAE482-0010-A85D-5CB0-8F59E428B7AE}"/>
          </ac:cxnSpMkLst>
        </pc:cxnChg>
      </pc:sldChg>
      <pc:sldChg chg="modSp add mod">
        <pc:chgData name="Zainab Hasan Alhammadi زينب حسن الحمادي" userId="e5ea3ead-5cfb-4685-8d1d-bf28404dc0c4" providerId="ADAL" clId="{7D6482DB-5D8D-4A82-8A0C-266FA76E1F3E}" dt="2025-02-06T12:15:18.626" v="1572"/>
        <pc:sldMkLst>
          <pc:docMk/>
          <pc:sldMk cId="3610000686" sldId="2147483309"/>
        </pc:sldMkLst>
      </pc:sldChg>
      <pc:sldChg chg="addSp delSp modSp add mod">
        <pc:chgData name="Zainab Hasan Alhammadi زينب حسن الحمادي" userId="e5ea3ead-5cfb-4685-8d1d-bf28404dc0c4" providerId="ADAL" clId="{7D6482DB-5D8D-4A82-8A0C-266FA76E1F3E}" dt="2025-02-06T12:20:08.767" v="1625" actId="1076"/>
        <pc:sldMkLst>
          <pc:docMk/>
          <pc:sldMk cId="3526972464" sldId="2147483310"/>
        </pc:sldMkLst>
      </pc:sldChg>
      <pc:sldChg chg="addSp delSp modSp add mod">
        <pc:chgData name="Zainab Hasan Alhammadi زينب حسن الحمادي" userId="e5ea3ead-5cfb-4685-8d1d-bf28404dc0c4" providerId="ADAL" clId="{7D6482DB-5D8D-4A82-8A0C-266FA76E1F3E}" dt="2025-02-06T12:19:44.926" v="1621" actId="207"/>
        <pc:sldMkLst>
          <pc:docMk/>
          <pc:sldMk cId="648475561" sldId="2147483311"/>
        </pc:sldMkLst>
      </pc:sldChg>
      <pc:sldChg chg="addSp delSp modSp add mod">
        <pc:chgData name="Zainab Hasan Alhammadi زينب حسن الحمادي" userId="e5ea3ead-5cfb-4685-8d1d-bf28404dc0c4" providerId="ADAL" clId="{7D6482DB-5D8D-4A82-8A0C-266FA76E1F3E}" dt="2025-02-06T12:20:22.379" v="1628" actId="404"/>
        <pc:sldMkLst>
          <pc:docMk/>
          <pc:sldMk cId="911610875" sldId="2147483312"/>
        </pc:sldMkLst>
      </pc:sldChg>
      <pc:sldChg chg="addSp delSp modSp add mod">
        <pc:chgData name="Zainab Hasan Alhammadi زينب حسن الحمادي" userId="e5ea3ead-5cfb-4685-8d1d-bf28404dc0c4" providerId="ADAL" clId="{7D6482DB-5D8D-4A82-8A0C-266FA76E1F3E}" dt="2025-02-06T12:20:35.545" v="1631" actId="404"/>
        <pc:sldMkLst>
          <pc:docMk/>
          <pc:sldMk cId="2962598238" sldId="2147483313"/>
        </pc:sldMkLst>
      </pc:sldChg>
      <pc:sldChg chg="addSp delSp modSp add mod">
        <pc:chgData name="Zainab Hasan Alhammadi زينب حسن الحمادي" userId="e5ea3ead-5cfb-4685-8d1d-bf28404dc0c4" providerId="ADAL" clId="{7D6482DB-5D8D-4A82-8A0C-266FA76E1F3E}" dt="2025-02-06T12:20:45.335" v="1634" actId="404"/>
        <pc:sldMkLst>
          <pc:docMk/>
          <pc:sldMk cId="732534617" sldId="2147483314"/>
        </pc:sldMkLst>
      </pc:sldChg>
      <pc:sldChg chg="addSp delSp modSp add mod">
        <pc:chgData name="Zainab Hasan Alhammadi زينب حسن الحمادي" userId="e5ea3ead-5cfb-4685-8d1d-bf28404dc0c4" providerId="ADAL" clId="{7D6482DB-5D8D-4A82-8A0C-266FA76E1F3E}" dt="2025-02-06T12:21:03.962" v="1637" actId="20577"/>
        <pc:sldMkLst>
          <pc:docMk/>
          <pc:sldMk cId="3440657380" sldId="2147483315"/>
        </pc:sldMkLst>
      </pc:sldChg>
      <pc:sldChg chg="addSp delSp modSp add mod">
        <pc:chgData name="Zainab Hasan Alhammadi زينب حسن الحمادي" userId="e5ea3ead-5cfb-4685-8d1d-bf28404dc0c4" providerId="ADAL" clId="{7D6482DB-5D8D-4A82-8A0C-266FA76E1F3E}" dt="2025-02-06T12:23:05.046" v="1658" actId="113"/>
        <pc:sldMkLst>
          <pc:docMk/>
          <pc:sldMk cId="3716967246" sldId="2147483316"/>
        </pc:sldMkLst>
      </pc:sldChg>
      <pc:sldChg chg="addSp delSp modSp add mod">
        <pc:chgData name="Zainab Hasan Alhammadi زينب حسن الحمادي" userId="e5ea3ead-5cfb-4685-8d1d-bf28404dc0c4" providerId="ADAL" clId="{7D6482DB-5D8D-4A82-8A0C-266FA76E1F3E}" dt="2025-02-06T12:24:08.354" v="1664" actId="404"/>
        <pc:sldMkLst>
          <pc:docMk/>
          <pc:sldMk cId="1985787746" sldId="2147483317"/>
        </pc:sldMkLst>
      </pc:sldChg>
      <pc:sldChg chg="addSp delSp modSp new del mod">
        <pc:chgData name="Zainab Hasan Alhammadi زينب حسن الحمادي" userId="e5ea3ead-5cfb-4685-8d1d-bf28404dc0c4" providerId="ADAL" clId="{7D6482DB-5D8D-4A82-8A0C-266FA76E1F3E}" dt="2025-02-07T06:10:16.727" v="3714" actId="47"/>
        <pc:sldMkLst>
          <pc:docMk/>
          <pc:sldMk cId="861241314" sldId="2147483318"/>
        </pc:sldMkLst>
      </pc:sldChg>
      <pc:sldChg chg="addSp delSp modSp add del mod">
        <pc:chgData name="Zainab Hasan Alhammadi زينب حسن الحمادي" userId="e5ea3ead-5cfb-4685-8d1d-bf28404dc0c4" providerId="ADAL" clId="{7D6482DB-5D8D-4A82-8A0C-266FA76E1F3E}" dt="2025-02-07T06:10:29.305" v="3717" actId="47"/>
        <pc:sldMkLst>
          <pc:docMk/>
          <pc:sldMk cId="3255694155" sldId="2147483319"/>
        </pc:sldMkLst>
      </pc:sldChg>
      <pc:sldChg chg="addSp delSp modSp add del mod">
        <pc:chgData name="Zainab Hasan Alhammadi زينب حسن الحمادي" userId="e5ea3ead-5cfb-4685-8d1d-bf28404dc0c4" providerId="ADAL" clId="{7D6482DB-5D8D-4A82-8A0C-266FA76E1F3E}" dt="2025-02-07T06:10:39.226" v="3720" actId="47"/>
        <pc:sldMkLst>
          <pc:docMk/>
          <pc:sldMk cId="2626816068" sldId="2147483320"/>
        </pc:sldMkLst>
      </pc:sldChg>
      <pc:sldChg chg="addSp delSp modSp add del mod">
        <pc:chgData name="Zainab Hasan Alhammadi زينب حسن الحمادي" userId="e5ea3ead-5cfb-4685-8d1d-bf28404dc0c4" providerId="ADAL" clId="{7D6482DB-5D8D-4A82-8A0C-266FA76E1F3E}" dt="2025-02-07T06:10:52.781" v="3723" actId="47"/>
        <pc:sldMkLst>
          <pc:docMk/>
          <pc:sldMk cId="2183773708" sldId="2147483321"/>
        </pc:sldMkLst>
      </pc:sldChg>
      <pc:sldChg chg="addSp delSp modSp add del mod">
        <pc:chgData name="Zainab Hasan Alhammadi زينب حسن الحمادي" userId="e5ea3ead-5cfb-4685-8d1d-bf28404dc0c4" providerId="ADAL" clId="{7D6482DB-5D8D-4A82-8A0C-266FA76E1F3E}" dt="2025-02-07T06:11:01.930" v="3726" actId="47"/>
        <pc:sldMkLst>
          <pc:docMk/>
          <pc:sldMk cId="3866540664" sldId="2147483322"/>
        </pc:sldMkLst>
      </pc:sldChg>
      <pc:sldChg chg="add del">
        <pc:chgData name="Zainab Hasan Alhammadi زينب حسن الحمادي" userId="e5ea3ead-5cfb-4685-8d1d-bf28404dc0c4" providerId="ADAL" clId="{7D6482DB-5D8D-4A82-8A0C-266FA76E1F3E}" dt="2025-02-07T06:08:51.001" v="3686"/>
        <pc:sldMkLst>
          <pc:docMk/>
          <pc:sldMk cId="1135019841" sldId="2147483323"/>
        </pc:sldMkLst>
      </pc:sldChg>
      <pc:sldChg chg="addSp delSp modSp add mod">
        <pc:chgData name="Zainab Hasan Alhammadi زينب حسن الحمادي" userId="e5ea3ead-5cfb-4685-8d1d-bf28404dc0c4" providerId="ADAL" clId="{7D6482DB-5D8D-4A82-8A0C-266FA76E1F3E}" dt="2025-02-07T06:10:14.009" v="3713"/>
        <pc:sldMkLst>
          <pc:docMk/>
          <pc:sldMk cId="1798598682" sldId="2147483323"/>
        </pc:sldMkLst>
      </pc:sldChg>
      <pc:sldChg chg="new del">
        <pc:chgData name="Zainab Hasan Alhammadi زينب حسن الحمادي" userId="e5ea3ead-5cfb-4685-8d1d-bf28404dc0c4" providerId="ADAL" clId="{7D6482DB-5D8D-4A82-8A0C-266FA76E1F3E}" dt="2025-02-07T06:09:33.890" v="3704" actId="47"/>
        <pc:sldMkLst>
          <pc:docMk/>
          <pc:sldMk cId="2706724486" sldId="2147483323"/>
        </pc:sldMkLst>
      </pc:sldChg>
      <pc:sldChg chg="new del">
        <pc:chgData name="Zainab Hasan Alhammadi زينب حسن الحمادي" userId="e5ea3ead-5cfb-4685-8d1d-bf28404dc0c4" providerId="ADAL" clId="{7D6482DB-5D8D-4A82-8A0C-266FA76E1F3E}" dt="2025-02-07T06:08:18.743" v="3682" actId="680"/>
        <pc:sldMkLst>
          <pc:docMk/>
          <pc:sldMk cId="2795437964" sldId="2147483323"/>
        </pc:sldMkLst>
      </pc:sldChg>
      <pc:sldChg chg="addSp modSp add">
        <pc:chgData name="Zainab Hasan Alhammadi زينب حسن الحمادي" userId="e5ea3ead-5cfb-4685-8d1d-bf28404dc0c4" providerId="ADAL" clId="{7D6482DB-5D8D-4A82-8A0C-266FA76E1F3E}" dt="2025-02-07T06:10:27.176" v="3716"/>
        <pc:sldMkLst>
          <pc:docMk/>
          <pc:sldMk cId="1712944997" sldId="2147483324"/>
        </pc:sldMkLst>
        <pc:spChg chg="add mod">
          <ac:chgData name="Zainab Hasan Alhammadi زينب حسن الحمادي" userId="e5ea3ead-5cfb-4685-8d1d-bf28404dc0c4" providerId="ADAL" clId="{7D6482DB-5D8D-4A82-8A0C-266FA76E1F3E}" dt="2025-02-07T06:10:27.176" v="3716"/>
          <ac:spMkLst>
            <pc:docMk/>
            <pc:sldMk cId="1712944997" sldId="2147483324"/>
            <ac:spMk id="2" creationId="{4FA81C08-3C0C-E523-D6E1-44107BDE7FC3}"/>
          </ac:spMkLst>
        </pc:spChg>
        <pc:spChg chg="add mod">
          <ac:chgData name="Zainab Hasan Alhammadi زينب حسن الحمادي" userId="e5ea3ead-5cfb-4685-8d1d-bf28404dc0c4" providerId="ADAL" clId="{7D6482DB-5D8D-4A82-8A0C-266FA76E1F3E}" dt="2025-02-07T06:10:27.176" v="3716"/>
          <ac:spMkLst>
            <pc:docMk/>
            <pc:sldMk cId="1712944997" sldId="2147483324"/>
            <ac:spMk id="3" creationId="{3935BF3A-8E79-4FD9-B573-7171D738C355}"/>
          </ac:spMkLst>
        </pc:spChg>
        <pc:picChg chg="add mod">
          <ac:chgData name="Zainab Hasan Alhammadi زينب حسن الحمادي" userId="e5ea3ead-5cfb-4685-8d1d-bf28404dc0c4" providerId="ADAL" clId="{7D6482DB-5D8D-4A82-8A0C-266FA76E1F3E}" dt="2025-02-07T06:10:27.176" v="3716"/>
          <ac:picMkLst>
            <pc:docMk/>
            <pc:sldMk cId="1712944997" sldId="2147483324"/>
            <ac:picMk id="5" creationId="{1033A66F-F463-CE97-18F9-ECACBDFDB6E9}"/>
          </ac:picMkLst>
        </pc:picChg>
        <pc:picChg chg="add mod">
          <ac:chgData name="Zainab Hasan Alhammadi زينب حسن الحمادي" userId="e5ea3ead-5cfb-4685-8d1d-bf28404dc0c4" providerId="ADAL" clId="{7D6482DB-5D8D-4A82-8A0C-266FA76E1F3E}" dt="2025-02-07T06:10:27.176" v="3716"/>
          <ac:picMkLst>
            <pc:docMk/>
            <pc:sldMk cId="1712944997" sldId="2147483324"/>
            <ac:picMk id="6" creationId="{56B7F962-4797-CCFA-E755-2216F4FC763A}"/>
          </ac:picMkLst>
        </pc:picChg>
        <pc:cxnChg chg="add mod">
          <ac:chgData name="Zainab Hasan Alhammadi زينب حسن الحمادي" userId="e5ea3ead-5cfb-4685-8d1d-bf28404dc0c4" providerId="ADAL" clId="{7D6482DB-5D8D-4A82-8A0C-266FA76E1F3E}" dt="2025-02-07T06:10:27.176" v="3716"/>
          <ac:cxnSpMkLst>
            <pc:docMk/>
            <pc:sldMk cId="1712944997" sldId="2147483324"/>
            <ac:cxnSpMk id="4" creationId="{5133F226-160D-2585-B671-B1B1F22F4A73}"/>
          </ac:cxnSpMkLst>
        </pc:cxnChg>
      </pc:sldChg>
      <pc:sldChg chg="addSp modSp add">
        <pc:chgData name="Zainab Hasan Alhammadi زينب حسن الحمادي" userId="e5ea3ead-5cfb-4685-8d1d-bf28404dc0c4" providerId="ADAL" clId="{7D6482DB-5D8D-4A82-8A0C-266FA76E1F3E}" dt="2025-02-07T06:10:36.911" v="3719"/>
        <pc:sldMkLst>
          <pc:docMk/>
          <pc:sldMk cId="217615644" sldId="2147483325"/>
        </pc:sldMkLst>
        <pc:spChg chg="add mod">
          <ac:chgData name="Zainab Hasan Alhammadi زينب حسن الحمادي" userId="e5ea3ead-5cfb-4685-8d1d-bf28404dc0c4" providerId="ADAL" clId="{7D6482DB-5D8D-4A82-8A0C-266FA76E1F3E}" dt="2025-02-07T06:10:36.911" v="3719"/>
          <ac:spMkLst>
            <pc:docMk/>
            <pc:sldMk cId="217615644" sldId="2147483325"/>
            <ac:spMk id="2" creationId="{54A8FA3B-3B5B-9BA9-3C0C-5CE1DB78F205}"/>
          </ac:spMkLst>
        </pc:spChg>
        <pc:spChg chg="add mod">
          <ac:chgData name="Zainab Hasan Alhammadi زينب حسن الحمادي" userId="e5ea3ead-5cfb-4685-8d1d-bf28404dc0c4" providerId="ADAL" clId="{7D6482DB-5D8D-4A82-8A0C-266FA76E1F3E}" dt="2025-02-07T06:10:36.911" v="3719"/>
          <ac:spMkLst>
            <pc:docMk/>
            <pc:sldMk cId="217615644" sldId="2147483325"/>
            <ac:spMk id="3" creationId="{FE9A17EB-F809-AC31-C125-84626A3AF7ED}"/>
          </ac:spMkLst>
        </pc:spChg>
        <pc:spChg chg="add mod">
          <ac:chgData name="Zainab Hasan Alhammadi زينب حسن الحمادي" userId="e5ea3ead-5cfb-4685-8d1d-bf28404dc0c4" providerId="ADAL" clId="{7D6482DB-5D8D-4A82-8A0C-266FA76E1F3E}" dt="2025-02-07T06:10:36.911" v="3719"/>
          <ac:spMkLst>
            <pc:docMk/>
            <pc:sldMk cId="217615644" sldId="2147483325"/>
            <ac:spMk id="6" creationId="{0D6E7716-DC3C-8330-2AD2-94D82C58A695}"/>
          </ac:spMkLst>
        </pc:spChg>
        <pc:spChg chg="add mod">
          <ac:chgData name="Zainab Hasan Alhammadi زينب حسن الحمادي" userId="e5ea3ead-5cfb-4685-8d1d-bf28404dc0c4" providerId="ADAL" clId="{7D6482DB-5D8D-4A82-8A0C-266FA76E1F3E}" dt="2025-02-07T06:10:36.911" v="3719"/>
          <ac:spMkLst>
            <pc:docMk/>
            <pc:sldMk cId="217615644" sldId="2147483325"/>
            <ac:spMk id="10" creationId="{AC8EAED7-24FF-7BF5-CDDE-A0AAB06722E6}"/>
          </ac:spMkLst>
        </pc:spChg>
        <pc:picChg chg="add mod">
          <ac:chgData name="Zainab Hasan Alhammadi زينب حسن الحمادي" userId="e5ea3ead-5cfb-4685-8d1d-bf28404dc0c4" providerId="ADAL" clId="{7D6482DB-5D8D-4A82-8A0C-266FA76E1F3E}" dt="2025-02-07T06:10:36.911" v="3719"/>
          <ac:picMkLst>
            <pc:docMk/>
            <pc:sldMk cId="217615644" sldId="2147483325"/>
            <ac:picMk id="5" creationId="{951CCBEA-C3BC-CD08-CCE5-2BDC3CBDE36C}"/>
          </ac:picMkLst>
        </pc:picChg>
        <pc:picChg chg="add mod">
          <ac:chgData name="Zainab Hasan Alhammadi زينب حسن الحمادي" userId="e5ea3ead-5cfb-4685-8d1d-bf28404dc0c4" providerId="ADAL" clId="{7D6482DB-5D8D-4A82-8A0C-266FA76E1F3E}" dt="2025-02-07T06:10:36.911" v="3719"/>
          <ac:picMkLst>
            <pc:docMk/>
            <pc:sldMk cId="217615644" sldId="2147483325"/>
            <ac:picMk id="7" creationId="{00310260-0166-047E-8207-866294333148}"/>
          </ac:picMkLst>
        </pc:picChg>
        <pc:picChg chg="add mod">
          <ac:chgData name="Zainab Hasan Alhammadi زينب حسن الحمادي" userId="e5ea3ead-5cfb-4685-8d1d-bf28404dc0c4" providerId="ADAL" clId="{7D6482DB-5D8D-4A82-8A0C-266FA76E1F3E}" dt="2025-02-07T06:10:36.911" v="3719"/>
          <ac:picMkLst>
            <pc:docMk/>
            <pc:sldMk cId="217615644" sldId="2147483325"/>
            <ac:picMk id="9" creationId="{6796EF2A-F3D4-4229-41B4-2BAB424AB25B}"/>
          </ac:picMkLst>
        </pc:picChg>
        <pc:cxnChg chg="add mod">
          <ac:chgData name="Zainab Hasan Alhammadi زينب حسن الحمادي" userId="e5ea3ead-5cfb-4685-8d1d-bf28404dc0c4" providerId="ADAL" clId="{7D6482DB-5D8D-4A82-8A0C-266FA76E1F3E}" dt="2025-02-07T06:10:36.911" v="3719"/>
          <ac:cxnSpMkLst>
            <pc:docMk/>
            <pc:sldMk cId="217615644" sldId="2147483325"/>
            <ac:cxnSpMk id="4" creationId="{25247595-87B0-52A4-8357-A9DB22BDBFC2}"/>
          </ac:cxnSpMkLst>
        </pc:cxnChg>
      </pc:sldChg>
      <pc:sldChg chg="addSp modSp add">
        <pc:chgData name="Zainab Hasan Alhammadi زينب حسن الحمادي" userId="e5ea3ead-5cfb-4685-8d1d-bf28404dc0c4" providerId="ADAL" clId="{7D6482DB-5D8D-4A82-8A0C-266FA76E1F3E}" dt="2025-02-07T06:10:51.125" v="3722"/>
        <pc:sldMkLst>
          <pc:docMk/>
          <pc:sldMk cId="2319482427" sldId="2147483326"/>
        </pc:sldMkLst>
        <pc:spChg chg="add mod">
          <ac:chgData name="Zainab Hasan Alhammadi زينب حسن الحمادي" userId="e5ea3ead-5cfb-4685-8d1d-bf28404dc0c4" providerId="ADAL" clId="{7D6482DB-5D8D-4A82-8A0C-266FA76E1F3E}" dt="2025-02-07T06:10:51.125" v="3722"/>
          <ac:spMkLst>
            <pc:docMk/>
            <pc:sldMk cId="2319482427" sldId="2147483326"/>
            <ac:spMk id="10" creationId="{A0AB4582-08A2-9799-D589-09EB28D9DE4D}"/>
          </ac:spMkLst>
        </pc:spChg>
        <pc:spChg chg="add mod">
          <ac:chgData name="Zainab Hasan Alhammadi زينب حسن الحمادي" userId="e5ea3ead-5cfb-4685-8d1d-bf28404dc0c4" providerId="ADAL" clId="{7D6482DB-5D8D-4A82-8A0C-266FA76E1F3E}" dt="2025-02-07T06:10:51.125" v="3722"/>
          <ac:spMkLst>
            <pc:docMk/>
            <pc:sldMk cId="2319482427" sldId="2147483326"/>
            <ac:spMk id="12" creationId="{F8087900-6C38-2F66-9E89-4A90B6C17248}"/>
          </ac:spMkLst>
        </pc:spChg>
        <pc:spChg chg="add mod">
          <ac:chgData name="Zainab Hasan Alhammadi زينب حسن الحمادي" userId="e5ea3ead-5cfb-4685-8d1d-bf28404dc0c4" providerId="ADAL" clId="{7D6482DB-5D8D-4A82-8A0C-266FA76E1F3E}" dt="2025-02-07T06:10:51.125" v="3722"/>
          <ac:spMkLst>
            <pc:docMk/>
            <pc:sldMk cId="2319482427" sldId="2147483326"/>
            <ac:spMk id="13" creationId="{281393DB-992A-14E9-1F02-C0B5B9901404}"/>
          </ac:spMkLst>
        </pc:spChg>
        <pc:spChg chg="add mod">
          <ac:chgData name="Zainab Hasan Alhammadi زينب حسن الحمادي" userId="e5ea3ead-5cfb-4685-8d1d-bf28404dc0c4" providerId="ADAL" clId="{7D6482DB-5D8D-4A82-8A0C-266FA76E1F3E}" dt="2025-02-07T06:10:51.125" v="3722"/>
          <ac:spMkLst>
            <pc:docMk/>
            <pc:sldMk cId="2319482427" sldId="2147483326"/>
            <ac:spMk id="14" creationId="{3641B3B5-C2AB-F6F6-CBF0-14F970160127}"/>
          </ac:spMkLst>
        </pc:spChg>
        <pc:spChg chg="add mod">
          <ac:chgData name="Zainab Hasan Alhammadi زينب حسن الحمادي" userId="e5ea3ead-5cfb-4685-8d1d-bf28404dc0c4" providerId="ADAL" clId="{7D6482DB-5D8D-4A82-8A0C-266FA76E1F3E}" dt="2025-02-07T06:10:51.125" v="3722"/>
          <ac:spMkLst>
            <pc:docMk/>
            <pc:sldMk cId="2319482427" sldId="2147483326"/>
            <ac:spMk id="15" creationId="{1B405BA3-361E-FD48-25AE-C272F34E50B3}"/>
          </ac:spMkLst>
        </pc:spChg>
        <pc:spChg chg="add mod">
          <ac:chgData name="Zainab Hasan Alhammadi زينب حسن الحمادي" userId="e5ea3ead-5cfb-4685-8d1d-bf28404dc0c4" providerId="ADAL" clId="{7D6482DB-5D8D-4A82-8A0C-266FA76E1F3E}" dt="2025-02-07T06:10:51.125" v="3722"/>
          <ac:spMkLst>
            <pc:docMk/>
            <pc:sldMk cId="2319482427" sldId="2147483326"/>
            <ac:spMk id="21" creationId="{DF008634-B4D5-5CB8-8D1F-9E06C52BB8E1}"/>
          </ac:spMkLst>
        </pc:spChg>
        <pc:spChg chg="add mod">
          <ac:chgData name="Zainab Hasan Alhammadi زينب حسن الحمادي" userId="e5ea3ead-5cfb-4685-8d1d-bf28404dc0c4" providerId="ADAL" clId="{7D6482DB-5D8D-4A82-8A0C-266FA76E1F3E}" dt="2025-02-07T06:10:51.125" v="3722"/>
          <ac:spMkLst>
            <pc:docMk/>
            <pc:sldMk cId="2319482427" sldId="2147483326"/>
            <ac:spMk id="22" creationId="{34BFF662-F2DC-8E11-3DB2-CFB78D686ECB}"/>
          </ac:spMkLst>
        </pc:spChg>
        <pc:spChg chg="add mod">
          <ac:chgData name="Zainab Hasan Alhammadi زينب حسن الحمادي" userId="e5ea3ead-5cfb-4685-8d1d-bf28404dc0c4" providerId="ADAL" clId="{7D6482DB-5D8D-4A82-8A0C-266FA76E1F3E}" dt="2025-02-07T06:10:51.125" v="3722"/>
          <ac:spMkLst>
            <pc:docMk/>
            <pc:sldMk cId="2319482427" sldId="2147483326"/>
            <ac:spMk id="25" creationId="{CB4749D5-474B-DCE0-5ACF-7AD7E8771FC5}"/>
          </ac:spMkLst>
        </pc:spChg>
        <pc:spChg chg="add mod">
          <ac:chgData name="Zainab Hasan Alhammadi زينب حسن الحمادي" userId="e5ea3ead-5cfb-4685-8d1d-bf28404dc0c4" providerId="ADAL" clId="{7D6482DB-5D8D-4A82-8A0C-266FA76E1F3E}" dt="2025-02-07T06:10:51.125" v="3722"/>
          <ac:spMkLst>
            <pc:docMk/>
            <pc:sldMk cId="2319482427" sldId="2147483326"/>
            <ac:spMk id="29" creationId="{C45619EF-3C74-7661-7638-B1F48F6C4B86}"/>
          </ac:spMkLst>
        </pc:spChg>
        <pc:spChg chg="add mod">
          <ac:chgData name="Zainab Hasan Alhammadi زينب حسن الحمادي" userId="e5ea3ead-5cfb-4685-8d1d-bf28404dc0c4" providerId="ADAL" clId="{7D6482DB-5D8D-4A82-8A0C-266FA76E1F3E}" dt="2025-02-07T06:10:51.125" v="3722"/>
          <ac:spMkLst>
            <pc:docMk/>
            <pc:sldMk cId="2319482427" sldId="2147483326"/>
            <ac:spMk id="30" creationId="{3AA80234-4EFD-467E-1FF5-0166BDC7BE65}"/>
          </ac:spMkLst>
        </pc:spChg>
      </pc:sldChg>
      <pc:sldChg chg="addSp modSp add">
        <pc:chgData name="Zainab Hasan Alhammadi زينب حسن الحمادي" userId="e5ea3ead-5cfb-4685-8d1d-bf28404dc0c4" providerId="ADAL" clId="{7D6482DB-5D8D-4A82-8A0C-266FA76E1F3E}" dt="2025-02-07T06:11:00.331" v="3725"/>
        <pc:sldMkLst>
          <pc:docMk/>
          <pc:sldMk cId="2296781821" sldId="2147483327"/>
        </pc:sldMkLst>
        <pc:spChg chg="add mod">
          <ac:chgData name="Zainab Hasan Alhammadi زينب حسن الحمادي" userId="e5ea3ead-5cfb-4685-8d1d-bf28404dc0c4" providerId="ADAL" clId="{7D6482DB-5D8D-4A82-8A0C-266FA76E1F3E}" dt="2025-02-07T06:11:00.331" v="3725"/>
          <ac:spMkLst>
            <pc:docMk/>
            <pc:sldMk cId="2296781821" sldId="2147483327"/>
            <ac:spMk id="5" creationId="{7981149E-505E-A21E-7AF3-51D79BDDD624}"/>
          </ac:spMkLst>
        </pc:spChg>
        <pc:spChg chg="add mod">
          <ac:chgData name="Zainab Hasan Alhammadi زينب حسن الحمادي" userId="e5ea3ead-5cfb-4685-8d1d-bf28404dc0c4" providerId="ADAL" clId="{7D6482DB-5D8D-4A82-8A0C-266FA76E1F3E}" dt="2025-02-07T06:11:00.331" v="3725"/>
          <ac:spMkLst>
            <pc:docMk/>
            <pc:sldMk cId="2296781821" sldId="2147483327"/>
            <ac:spMk id="9" creationId="{7770A9B8-6306-F07E-2168-22305E41E88D}"/>
          </ac:spMkLst>
        </pc:spChg>
        <pc:spChg chg="add mod">
          <ac:chgData name="Zainab Hasan Alhammadi زينب حسن الحمادي" userId="e5ea3ead-5cfb-4685-8d1d-bf28404dc0c4" providerId="ADAL" clId="{7D6482DB-5D8D-4A82-8A0C-266FA76E1F3E}" dt="2025-02-07T06:11:00.331" v="3725"/>
          <ac:spMkLst>
            <pc:docMk/>
            <pc:sldMk cId="2296781821" sldId="2147483327"/>
            <ac:spMk id="10" creationId="{9B5C5FE1-C649-C625-8A19-68C1FC992632}"/>
          </ac:spMkLst>
        </pc:spChg>
        <pc:spChg chg="add mod">
          <ac:chgData name="Zainab Hasan Alhammadi زينب حسن الحمادي" userId="e5ea3ead-5cfb-4685-8d1d-bf28404dc0c4" providerId="ADAL" clId="{7D6482DB-5D8D-4A82-8A0C-266FA76E1F3E}" dt="2025-02-07T06:11:00.331" v="3725"/>
          <ac:spMkLst>
            <pc:docMk/>
            <pc:sldMk cId="2296781821" sldId="2147483327"/>
            <ac:spMk id="11" creationId="{C90C6081-C78A-728E-5C9D-F531C3B496FE}"/>
          </ac:spMkLst>
        </pc:spChg>
        <pc:spChg chg="add mod">
          <ac:chgData name="Zainab Hasan Alhammadi زينب حسن الحمادي" userId="e5ea3ead-5cfb-4685-8d1d-bf28404dc0c4" providerId="ADAL" clId="{7D6482DB-5D8D-4A82-8A0C-266FA76E1F3E}" dt="2025-02-07T06:11:00.331" v="3725"/>
          <ac:spMkLst>
            <pc:docMk/>
            <pc:sldMk cId="2296781821" sldId="2147483327"/>
            <ac:spMk id="13" creationId="{B0813293-60A6-F9FC-43F8-2C2245DDFD17}"/>
          </ac:spMkLst>
        </pc:spChg>
        <pc:spChg chg="add mod">
          <ac:chgData name="Zainab Hasan Alhammadi زينب حسن الحمادي" userId="e5ea3ead-5cfb-4685-8d1d-bf28404dc0c4" providerId="ADAL" clId="{7D6482DB-5D8D-4A82-8A0C-266FA76E1F3E}" dt="2025-02-07T06:11:00.331" v="3725"/>
          <ac:spMkLst>
            <pc:docMk/>
            <pc:sldMk cId="2296781821" sldId="2147483327"/>
            <ac:spMk id="17" creationId="{5E268122-8E6C-776C-D32E-4BB08017E001}"/>
          </ac:spMkLst>
        </pc:spChg>
        <pc:spChg chg="add mod">
          <ac:chgData name="Zainab Hasan Alhammadi زينب حسن الحمادي" userId="e5ea3ead-5cfb-4685-8d1d-bf28404dc0c4" providerId="ADAL" clId="{7D6482DB-5D8D-4A82-8A0C-266FA76E1F3E}" dt="2025-02-07T06:11:00.331" v="3725"/>
          <ac:spMkLst>
            <pc:docMk/>
            <pc:sldMk cId="2296781821" sldId="2147483327"/>
            <ac:spMk id="18" creationId="{BC2E68C7-8F3D-3B45-C3E2-74B8603817F7}"/>
          </ac:spMkLst>
        </pc:spChg>
        <pc:spChg chg="add mod">
          <ac:chgData name="Zainab Hasan Alhammadi زينب حسن الحمادي" userId="e5ea3ead-5cfb-4685-8d1d-bf28404dc0c4" providerId="ADAL" clId="{7D6482DB-5D8D-4A82-8A0C-266FA76E1F3E}" dt="2025-02-07T06:11:00.331" v="3725"/>
          <ac:spMkLst>
            <pc:docMk/>
            <pc:sldMk cId="2296781821" sldId="2147483327"/>
            <ac:spMk id="19" creationId="{0288C75C-86BF-8271-F5D1-8173C6D87E41}"/>
          </ac:spMkLst>
        </pc:spChg>
        <pc:spChg chg="add mod">
          <ac:chgData name="Zainab Hasan Alhammadi زينب حسن الحمادي" userId="e5ea3ead-5cfb-4685-8d1d-bf28404dc0c4" providerId="ADAL" clId="{7D6482DB-5D8D-4A82-8A0C-266FA76E1F3E}" dt="2025-02-07T06:11:00.331" v="3725"/>
          <ac:spMkLst>
            <pc:docMk/>
            <pc:sldMk cId="2296781821" sldId="2147483327"/>
            <ac:spMk id="22" creationId="{41E90437-C35D-1C9D-909F-46BB14A13AC8}"/>
          </ac:spMkLst>
        </pc:spChg>
        <pc:spChg chg="add mod">
          <ac:chgData name="Zainab Hasan Alhammadi زينب حسن الحمادي" userId="e5ea3ead-5cfb-4685-8d1d-bf28404dc0c4" providerId="ADAL" clId="{7D6482DB-5D8D-4A82-8A0C-266FA76E1F3E}" dt="2025-02-07T06:11:00.331" v="3725"/>
          <ac:spMkLst>
            <pc:docMk/>
            <pc:sldMk cId="2296781821" sldId="2147483327"/>
            <ac:spMk id="23" creationId="{78073827-F9D6-511C-D909-5A5DE2F7B637}"/>
          </ac:spMkLst>
        </pc:spChg>
      </pc:sldChg>
    </pc:docChg>
  </pc:docChgLst>
  <pc:docChgLst>
    <pc:chgData name="Fadi Shafiq Qayed فادي شفيق القائد" userId="0a996b8d-3179-42b5-81f4-b5c8c93a4979" providerId="ADAL" clId="{4149E3F0-A161-42A0-9644-FC3CC302ECCE}"/>
    <pc:docChg chg="undo custSel addSld delSld modSld sldOrd modSection">
      <pc:chgData name="Fadi Shafiq Qayed فادي شفيق القائد" userId="0a996b8d-3179-42b5-81f4-b5c8c93a4979" providerId="ADAL" clId="{4149E3F0-A161-42A0-9644-FC3CC302ECCE}" dt="2025-02-06T08:49:43.619" v="1263" actId="14100"/>
      <pc:docMkLst>
        <pc:docMk/>
      </pc:docMkLst>
      <pc:sldChg chg="delSp del mod">
        <pc:chgData name="Fadi Shafiq Qayed فادي شفيق القائد" userId="0a996b8d-3179-42b5-81f4-b5c8c93a4979" providerId="ADAL" clId="{4149E3F0-A161-42A0-9644-FC3CC302ECCE}" dt="2025-02-05T09:33:42.106" v="667" actId="47"/>
        <pc:sldMkLst>
          <pc:docMk/>
          <pc:sldMk cId="4272041493" sldId="2147483225"/>
        </pc:sldMkLst>
      </pc:sldChg>
      <pc:sldChg chg="addSp delSp modSp add mod">
        <pc:chgData name="Fadi Shafiq Qayed فادي شفيق القائد" userId="0a996b8d-3179-42b5-81f4-b5c8c93a4979" providerId="ADAL" clId="{4149E3F0-A161-42A0-9644-FC3CC302ECCE}" dt="2025-02-06T08:47:03.934" v="1213"/>
        <pc:sldMkLst>
          <pc:docMk/>
          <pc:sldMk cId="4277919319" sldId="2147483238"/>
        </pc:sldMkLst>
      </pc:sldChg>
      <pc:sldChg chg="addSp delSp modSp mod">
        <pc:chgData name="Fadi Shafiq Qayed فادي شفيق القائد" userId="0a996b8d-3179-42b5-81f4-b5c8c93a4979" providerId="ADAL" clId="{4149E3F0-A161-42A0-9644-FC3CC302ECCE}" dt="2025-02-05T09:12:08.352" v="165" actId="20577"/>
        <pc:sldMkLst>
          <pc:docMk/>
          <pc:sldMk cId="2941107404" sldId="2147483248"/>
        </pc:sldMkLst>
        <pc:spChg chg="add mod">
          <ac:chgData name="Fadi Shafiq Qayed فادي شفيق القائد" userId="0a996b8d-3179-42b5-81f4-b5c8c93a4979" providerId="ADAL" clId="{4149E3F0-A161-42A0-9644-FC3CC302ECCE}" dt="2025-02-05T08:42:04.008" v="7"/>
          <ac:spMkLst>
            <pc:docMk/>
            <pc:sldMk cId="2941107404" sldId="2147483248"/>
            <ac:spMk id="5" creationId="{6D7600F4-536E-AEFC-9811-693BE7354DB9}"/>
          </ac:spMkLst>
        </pc:spChg>
        <pc:spChg chg="add mod">
          <ac:chgData name="Fadi Shafiq Qayed فادي شفيق القائد" userId="0a996b8d-3179-42b5-81f4-b5c8c93a4979" providerId="ADAL" clId="{4149E3F0-A161-42A0-9644-FC3CC302ECCE}" dt="2025-02-05T08:43:38.573" v="107" actId="20577"/>
          <ac:spMkLst>
            <pc:docMk/>
            <pc:sldMk cId="2941107404" sldId="2147483248"/>
            <ac:spMk id="6" creationId="{F880E31C-D8AC-6638-028F-5C3607AB23AA}"/>
          </ac:spMkLst>
        </pc:spChg>
        <pc:spChg chg="add mod">
          <ac:chgData name="Fadi Shafiq Qayed فادي شفيق القائد" userId="0a996b8d-3179-42b5-81f4-b5c8c93a4979" providerId="ADAL" clId="{4149E3F0-A161-42A0-9644-FC3CC302ECCE}" dt="2025-02-05T08:46:17.621" v="136" actId="1076"/>
          <ac:spMkLst>
            <pc:docMk/>
            <pc:sldMk cId="2941107404" sldId="2147483248"/>
            <ac:spMk id="9" creationId="{D150D4B5-73F7-45EF-647F-16FC7523924A}"/>
          </ac:spMkLst>
        </pc:spChg>
        <pc:spChg chg="add del mod">
          <ac:chgData name="Fadi Shafiq Qayed فادي شفيق القائد" userId="0a996b8d-3179-42b5-81f4-b5c8c93a4979" providerId="ADAL" clId="{4149E3F0-A161-42A0-9644-FC3CC302ECCE}" dt="2025-02-05T08:46:25.941" v="139" actId="478"/>
          <ac:spMkLst>
            <pc:docMk/>
            <pc:sldMk cId="2941107404" sldId="2147483248"/>
            <ac:spMk id="10" creationId="{7AAA38E0-D7C8-0542-EFE3-7FF919FA74A3}"/>
          </ac:spMkLst>
        </pc:spChg>
        <pc:spChg chg="add mod">
          <ac:chgData name="Fadi Shafiq Qayed فادي شفيق القائد" userId="0a996b8d-3179-42b5-81f4-b5c8c93a4979" providerId="ADAL" clId="{4149E3F0-A161-42A0-9644-FC3CC302ECCE}" dt="2025-02-05T08:42:04.008" v="7"/>
          <ac:spMkLst>
            <pc:docMk/>
            <pc:sldMk cId="2941107404" sldId="2147483248"/>
            <ac:spMk id="11" creationId="{BFB5C582-69A3-9036-E359-7519AF09A290}"/>
          </ac:spMkLst>
        </pc:spChg>
        <pc:spChg chg="add mod">
          <ac:chgData name="Fadi Shafiq Qayed فادي شفيق القائد" userId="0a996b8d-3179-42b5-81f4-b5c8c93a4979" providerId="ADAL" clId="{4149E3F0-A161-42A0-9644-FC3CC302ECCE}" dt="2025-02-05T08:42:59.950" v="53" actId="20577"/>
          <ac:spMkLst>
            <pc:docMk/>
            <pc:sldMk cId="2941107404" sldId="2147483248"/>
            <ac:spMk id="13" creationId="{4B529193-7297-3A6E-5A11-1ECDDAE5A743}"/>
          </ac:spMkLst>
        </pc:spChg>
        <pc:spChg chg="add mod">
          <ac:chgData name="Fadi Shafiq Qayed فادي شفيق القائد" userId="0a996b8d-3179-42b5-81f4-b5c8c93a4979" providerId="ADAL" clId="{4149E3F0-A161-42A0-9644-FC3CC302ECCE}" dt="2025-02-05T08:42:55.952" v="50" actId="20577"/>
          <ac:spMkLst>
            <pc:docMk/>
            <pc:sldMk cId="2941107404" sldId="2147483248"/>
            <ac:spMk id="14" creationId="{A736DB79-C24A-9E38-CB9A-35A81B281954}"/>
          </ac:spMkLst>
        </pc:spChg>
        <pc:spChg chg="add mod">
          <ac:chgData name="Fadi Shafiq Qayed فادي شفيق القائد" userId="0a996b8d-3179-42b5-81f4-b5c8c93a4979" providerId="ADAL" clId="{4149E3F0-A161-42A0-9644-FC3CC302ECCE}" dt="2025-02-05T08:42:32.245" v="39" actId="404"/>
          <ac:spMkLst>
            <pc:docMk/>
            <pc:sldMk cId="2941107404" sldId="2147483248"/>
            <ac:spMk id="15" creationId="{C73CBC21-44A7-6E4F-7537-AB4478FB10B6}"/>
          </ac:spMkLst>
        </pc:spChg>
        <pc:spChg chg="add mod">
          <ac:chgData name="Fadi Shafiq Qayed فادي شفيق القائد" userId="0a996b8d-3179-42b5-81f4-b5c8c93a4979" providerId="ADAL" clId="{4149E3F0-A161-42A0-9644-FC3CC302ECCE}" dt="2025-02-05T08:43:03.357" v="56" actId="20577"/>
          <ac:spMkLst>
            <pc:docMk/>
            <pc:sldMk cId="2941107404" sldId="2147483248"/>
            <ac:spMk id="16" creationId="{073D74E6-D83A-335A-74C0-2378B7CDCFE0}"/>
          </ac:spMkLst>
        </pc:spChg>
        <pc:spChg chg="add mod">
          <ac:chgData name="Fadi Shafiq Qayed فادي شفيق القائد" userId="0a996b8d-3179-42b5-81f4-b5c8c93a4979" providerId="ADAL" clId="{4149E3F0-A161-42A0-9644-FC3CC302ECCE}" dt="2025-02-05T08:43:34.026" v="95" actId="20577"/>
          <ac:spMkLst>
            <pc:docMk/>
            <pc:sldMk cId="2941107404" sldId="2147483248"/>
            <ac:spMk id="19" creationId="{FF1B864F-3CEF-8DA9-AA54-4A15D4A11544}"/>
          </ac:spMkLst>
        </pc:spChg>
        <pc:spChg chg="add mod">
          <ac:chgData name="Fadi Shafiq Qayed فادي شفيق القائد" userId="0a996b8d-3179-42b5-81f4-b5c8c93a4979" providerId="ADAL" clId="{4149E3F0-A161-42A0-9644-FC3CC302ECCE}" dt="2025-02-05T08:43:21.697" v="73" actId="20577"/>
          <ac:spMkLst>
            <pc:docMk/>
            <pc:sldMk cId="2941107404" sldId="2147483248"/>
            <ac:spMk id="23" creationId="{20CFE57B-7CB9-2CE9-89AE-806A84AD3F0A}"/>
          </ac:spMkLst>
        </pc:spChg>
        <pc:spChg chg="mod">
          <ac:chgData name="Fadi Shafiq Qayed فادي شفيق القائد" userId="0a996b8d-3179-42b5-81f4-b5c8c93a4979" providerId="ADAL" clId="{4149E3F0-A161-42A0-9644-FC3CC302ECCE}" dt="2025-02-05T08:41:48.117" v="5" actId="404"/>
          <ac:spMkLst>
            <pc:docMk/>
            <pc:sldMk cId="2941107404" sldId="2147483248"/>
            <ac:spMk id="31" creationId="{E59A3899-180C-0D92-263A-F577A3FD620D}"/>
          </ac:spMkLst>
        </pc:spChg>
        <pc:spChg chg="add mod">
          <ac:chgData name="Fadi Shafiq Qayed فادي شفيق القائد" userId="0a996b8d-3179-42b5-81f4-b5c8c93a4979" providerId="ADAL" clId="{4149E3F0-A161-42A0-9644-FC3CC302ECCE}" dt="2025-02-05T08:46:21.126" v="137" actId="1076"/>
          <ac:spMkLst>
            <pc:docMk/>
            <pc:sldMk cId="2941107404" sldId="2147483248"/>
            <ac:spMk id="33" creationId="{7009D4B5-3FC1-8B9A-01CC-41E1B143BD87}"/>
          </ac:spMkLst>
        </pc:spChg>
        <pc:spChg chg="add mod">
          <ac:chgData name="Fadi Shafiq Qayed فادي شفيق القائد" userId="0a996b8d-3179-42b5-81f4-b5c8c93a4979" providerId="ADAL" clId="{4149E3F0-A161-42A0-9644-FC3CC302ECCE}" dt="2025-02-05T08:43:15.243" v="64" actId="20577"/>
          <ac:spMkLst>
            <pc:docMk/>
            <pc:sldMk cId="2941107404" sldId="2147483248"/>
            <ac:spMk id="34" creationId="{279EC2D3-57B1-43C3-0AE4-63E50D0F4873}"/>
          </ac:spMkLst>
        </pc:spChg>
        <pc:spChg chg="add mod">
          <ac:chgData name="Fadi Shafiq Qayed فادي شفيق القائد" userId="0a996b8d-3179-42b5-81f4-b5c8c93a4979" providerId="ADAL" clId="{4149E3F0-A161-42A0-9644-FC3CC302ECCE}" dt="2025-02-05T09:11:17.014" v="155" actId="20577"/>
          <ac:spMkLst>
            <pc:docMk/>
            <pc:sldMk cId="2941107404" sldId="2147483248"/>
            <ac:spMk id="36" creationId="{E1D17E74-2960-E87C-9313-9661C4D404E4}"/>
          </ac:spMkLst>
        </pc:spChg>
        <pc:spChg chg="add mod">
          <ac:chgData name="Fadi Shafiq Qayed فادي شفيق القائد" userId="0a996b8d-3179-42b5-81f4-b5c8c93a4979" providerId="ADAL" clId="{4149E3F0-A161-42A0-9644-FC3CC302ECCE}" dt="2025-02-05T09:11:42.888" v="161" actId="20577"/>
          <ac:spMkLst>
            <pc:docMk/>
            <pc:sldMk cId="2941107404" sldId="2147483248"/>
            <ac:spMk id="37" creationId="{7353F6FA-5E3D-ACC1-50C6-27D73887E138}"/>
          </ac:spMkLst>
        </pc:spChg>
        <pc:spChg chg="add mod">
          <ac:chgData name="Fadi Shafiq Qayed فادي شفيق القائد" userId="0a996b8d-3179-42b5-81f4-b5c8c93a4979" providerId="ADAL" clId="{4149E3F0-A161-42A0-9644-FC3CC302ECCE}" dt="2025-02-05T09:12:08.352" v="165" actId="20577"/>
          <ac:spMkLst>
            <pc:docMk/>
            <pc:sldMk cId="2941107404" sldId="2147483248"/>
            <ac:spMk id="38" creationId="{A72F8214-A03D-0697-C921-C43DE1957955}"/>
          </ac:spMkLst>
        </pc:spChg>
        <pc:picChg chg="add mod">
          <ac:chgData name="Fadi Shafiq Qayed فادي شفيق القائد" userId="0a996b8d-3179-42b5-81f4-b5c8c93a4979" providerId="ADAL" clId="{4149E3F0-A161-42A0-9644-FC3CC302ECCE}" dt="2025-02-05T08:44:03.382" v="110" actId="14100"/>
          <ac:picMkLst>
            <pc:docMk/>
            <pc:sldMk cId="2941107404" sldId="2147483248"/>
            <ac:picMk id="17" creationId="{FAE87BBF-D33D-C0C0-8117-17C2C93F32C6}"/>
          </ac:picMkLst>
        </pc:picChg>
        <pc:picChg chg="add mod">
          <ac:chgData name="Fadi Shafiq Qayed فادي شفيق القائد" userId="0a996b8d-3179-42b5-81f4-b5c8c93a4979" providerId="ADAL" clId="{4149E3F0-A161-42A0-9644-FC3CC302ECCE}" dt="2025-02-05T08:44:16.402" v="114" actId="1076"/>
          <ac:picMkLst>
            <pc:docMk/>
            <pc:sldMk cId="2941107404" sldId="2147483248"/>
            <ac:picMk id="22" creationId="{E5B4D9D2-8899-6AE0-EAE6-E7FAA0D120EC}"/>
          </ac:picMkLst>
        </pc:picChg>
        <pc:picChg chg="add mod">
          <ac:chgData name="Fadi Shafiq Qayed فادي شفيق القائد" userId="0a996b8d-3179-42b5-81f4-b5c8c93a4979" providerId="ADAL" clId="{4149E3F0-A161-42A0-9644-FC3CC302ECCE}" dt="2025-02-05T08:44:10.048" v="112" actId="14100"/>
          <ac:picMkLst>
            <pc:docMk/>
            <pc:sldMk cId="2941107404" sldId="2147483248"/>
            <ac:picMk id="24" creationId="{2B974A2F-1D45-64D4-AB42-F8DE14A65D28}"/>
          </ac:picMkLst>
        </pc:picChg>
        <pc:picChg chg="add mod">
          <ac:chgData name="Fadi Shafiq Qayed فادي شفيق القائد" userId="0a996b8d-3179-42b5-81f4-b5c8c93a4979" providerId="ADAL" clId="{4149E3F0-A161-42A0-9644-FC3CC302ECCE}" dt="2025-02-05T08:44:21.041" v="116" actId="1076"/>
          <ac:picMkLst>
            <pc:docMk/>
            <pc:sldMk cId="2941107404" sldId="2147483248"/>
            <ac:picMk id="35" creationId="{B6E47C66-7DD3-15CE-CD9E-B46FE4CE5E3D}"/>
          </ac:picMkLst>
        </pc:picChg>
      </pc:sldChg>
      <pc:sldChg chg="del">
        <pc:chgData name="Fadi Shafiq Qayed فادي شفيق القائد" userId="0a996b8d-3179-42b5-81f4-b5c8c93a4979" providerId="ADAL" clId="{4149E3F0-A161-42A0-9644-FC3CC302ECCE}" dt="2025-02-05T09:21:24.091" v="467" actId="47"/>
        <pc:sldMkLst>
          <pc:docMk/>
          <pc:sldMk cId="2488327145" sldId="2147483249"/>
        </pc:sldMkLst>
      </pc:sldChg>
      <pc:sldChg chg="del">
        <pc:chgData name="Fadi Shafiq Qayed فادي شفيق القائد" userId="0a996b8d-3179-42b5-81f4-b5c8c93a4979" providerId="ADAL" clId="{4149E3F0-A161-42A0-9644-FC3CC302ECCE}" dt="2025-02-05T09:30:15.003" v="605" actId="47"/>
        <pc:sldMkLst>
          <pc:docMk/>
          <pc:sldMk cId="3239838262" sldId="2147483250"/>
        </pc:sldMkLst>
      </pc:sldChg>
      <pc:sldChg chg="del">
        <pc:chgData name="Fadi Shafiq Qayed فادي شفيق القائد" userId="0a996b8d-3179-42b5-81f4-b5c8c93a4979" providerId="ADAL" clId="{4149E3F0-A161-42A0-9644-FC3CC302ECCE}" dt="2025-02-05T09:30:16.735" v="606" actId="47"/>
        <pc:sldMkLst>
          <pc:docMk/>
          <pc:sldMk cId="883660783" sldId="2147483251"/>
        </pc:sldMkLst>
      </pc:sldChg>
      <pc:sldChg chg="modSp mod">
        <pc:chgData name="Fadi Shafiq Qayed فادي شفيق القائد" userId="0a996b8d-3179-42b5-81f4-b5c8c93a4979" providerId="ADAL" clId="{4149E3F0-A161-42A0-9644-FC3CC302ECCE}" dt="2025-02-05T09:32:34.354" v="654" actId="113"/>
        <pc:sldMkLst>
          <pc:docMk/>
          <pc:sldMk cId="1538621196" sldId="2147483252"/>
        </pc:sldMkLst>
      </pc:sldChg>
      <pc:sldChg chg="addSp delSp modSp mod">
        <pc:chgData name="Fadi Shafiq Qayed فادي شفيق القائد" userId="0a996b8d-3179-42b5-81f4-b5c8c93a4979" providerId="ADAL" clId="{4149E3F0-A161-42A0-9644-FC3CC302ECCE}" dt="2025-02-05T09:39:40.924" v="889" actId="207"/>
        <pc:sldMkLst>
          <pc:docMk/>
          <pc:sldMk cId="2684994726" sldId="2147483259"/>
        </pc:sldMkLst>
      </pc:sldChg>
      <pc:sldChg chg="modSp mod">
        <pc:chgData name="Fadi Shafiq Qayed فادي شفيق القائد" userId="0a996b8d-3179-42b5-81f4-b5c8c93a4979" providerId="ADAL" clId="{4149E3F0-A161-42A0-9644-FC3CC302ECCE}" dt="2025-02-05T09:34:55.710" v="672" actId="1076"/>
        <pc:sldMkLst>
          <pc:docMk/>
          <pc:sldMk cId="3346203133" sldId="2147483260"/>
        </pc:sldMkLst>
      </pc:sldChg>
      <pc:sldChg chg="addSp delSp modSp mod ord">
        <pc:chgData name="Fadi Shafiq Qayed فادي شفيق القائد" userId="0a996b8d-3179-42b5-81f4-b5c8c93a4979" providerId="ADAL" clId="{4149E3F0-A161-42A0-9644-FC3CC302ECCE}" dt="2025-02-06T08:49:43.619" v="1263" actId="14100"/>
        <pc:sldMkLst>
          <pc:docMk/>
          <pc:sldMk cId="3817699629" sldId="2147483261"/>
        </pc:sldMkLst>
      </pc:sldChg>
      <pc:sldChg chg="del">
        <pc:chgData name="Fadi Shafiq Qayed فادي شفيق القائد" userId="0a996b8d-3179-42b5-81f4-b5c8c93a4979" providerId="ADAL" clId="{4149E3F0-A161-42A0-9644-FC3CC302ECCE}" dt="2025-02-05T09:21:32.095" v="468" actId="47"/>
        <pc:sldMkLst>
          <pc:docMk/>
          <pc:sldMk cId="1565723644" sldId="2147483262"/>
        </pc:sldMkLst>
      </pc:sldChg>
      <pc:sldChg chg="addSp delSp modSp add mod">
        <pc:chgData name="Fadi Shafiq Qayed فادي شفيق القائد" userId="0a996b8d-3179-42b5-81f4-b5c8c93a4979" providerId="ADAL" clId="{4149E3F0-A161-42A0-9644-FC3CC302ECCE}" dt="2025-02-05T09:14:36.245" v="324" actId="403"/>
        <pc:sldMkLst>
          <pc:docMk/>
          <pc:sldMk cId="3955282266" sldId="2147483263"/>
        </pc:sldMkLst>
        <pc:spChg chg="mod">
          <ac:chgData name="Fadi Shafiq Qayed فادي شفيق القائد" userId="0a996b8d-3179-42b5-81f4-b5c8c93a4979" providerId="ADAL" clId="{4149E3F0-A161-42A0-9644-FC3CC302ECCE}" dt="2025-02-05T09:14:36.245" v="324" actId="403"/>
          <ac:spMkLst>
            <pc:docMk/>
            <pc:sldMk cId="3955282266" sldId="2147483263"/>
            <ac:spMk id="31" creationId="{F2A511B5-D921-85A1-8BEF-6B289BE7E139}"/>
          </ac:spMkLst>
        </pc:spChg>
        <pc:spChg chg="add mod">
          <ac:chgData name="Fadi Shafiq Qayed فادي شفيق القائد" userId="0a996b8d-3179-42b5-81f4-b5c8c93a4979" providerId="ADAL" clId="{4149E3F0-A161-42A0-9644-FC3CC302ECCE}" dt="2025-02-05T09:13:25.509" v="172"/>
          <ac:spMkLst>
            <pc:docMk/>
            <pc:sldMk cId="3955282266" sldId="2147483263"/>
            <ac:spMk id="101" creationId="{42804414-8F25-1085-8317-20689F6FF939}"/>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04" creationId="{3F756A01-BD25-1D8A-3656-C2BECD3CE141}"/>
          </ac:spMkLst>
        </pc:spChg>
        <pc:spChg chg="mod">
          <ac:chgData name="Fadi Shafiq Qayed فادي شفيق القائد" userId="0a996b8d-3179-42b5-81f4-b5c8c93a4979" providerId="ADAL" clId="{4149E3F0-A161-42A0-9644-FC3CC302ECCE}" dt="2025-02-05T09:13:28.494" v="175" actId="20577"/>
          <ac:spMkLst>
            <pc:docMk/>
            <pc:sldMk cId="3955282266" sldId="2147483263"/>
            <ac:spMk id="105" creationId="{7EB2C664-D3C1-BDF1-892A-B40A61465312}"/>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06" creationId="{830B2948-04E5-6EB9-5E7D-E49723C2386E}"/>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08" creationId="{CAE0CA94-027A-FAFF-2789-614EA4535161}"/>
          </ac:spMkLst>
        </pc:spChg>
        <pc:spChg chg="mod">
          <ac:chgData name="Fadi Shafiq Qayed فادي شفيق القائد" userId="0a996b8d-3179-42b5-81f4-b5c8c93a4979" providerId="ADAL" clId="{4149E3F0-A161-42A0-9644-FC3CC302ECCE}" dt="2025-02-05T09:13:43.527" v="227" actId="20577"/>
          <ac:spMkLst>
            <pc:docMk/>
            <pc:sldMk cId="3955282266" sldId="2147483263"/>
            <ac:spMk id="109" creationId="{C4A5F37E-F97A-E197-5F5F-5CECA00E89E1}"/>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10" creationId="{0CBEBBD4-622C-02C5-FD70-4FA11FB02D5A}"/>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13" creationId="{3A0FC6BB-B547-BB02-FB43-1CA83DC84C6A}"/>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14" creationId="{78635EB2-E1CD-8103-41EC-EAB22C392E25}"/>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15" creationId="{AECFED0F-A7E6-FDCD-3789-598CAA5D93C9}"/>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16" creationId="{FE80B7B9-5A3C-DE73-1B7A-10551C5D9709}"/>
          </ac:spMkLst>
        </pc:spChg>
        <pc:spChg chg="mod">
          <ac:chgData name="Fadi Shafiq Qayed فادي شفيق القائد" userId="0a996b8d-3179-42b5-81f4-b5c8c93a4979" providerId="ADAL" clId="{4149E3F0-A161-42A0-9644-FC3CC302ECCE}" dt="2025-02-05T09:14:27.587" v="321" actId="20577"/>
          <ac:spMkLst>
            <pc:docMk/>
            <pc:sldMk cId="3955282266" sldId="2147483263"/>
            <ac:spMk id="117" creationId="{E9F754C0-6A30-C57D-F22E-7F2551EBBFD9}"/>
          </ac:spMkLst>
        </pc:spChg>
        <pc:spChg chg="mod">
          <ac:chgData name="Fadi Shafiq Qayed فادي شفيق القائد" userId="0a996b8d-3179-42b5-81f4-b5c8c93a4979" providerId="ADAL" clId="{4149E3F0-A161-42A0-9644-FC3CC302ECCE}" dt="2025-02-05T09:14:14.141" v="311" actId="20577"/>
          <ac:spMkLst>
            <pc:docMk/>
            <pc:sldMk cId="3955282266" sldId="2147483263"/>
            <ac:spMk id="120" creationId="{B8B4685B-C4CC-A176-A587-37EA5D5C17FC}"/>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21" creationId="{947FB2FC-714D-0AF9-4626-BB7FCC2C45FB}"/>
          </ac:spMkLst>
        </pc:spChg>
        <pc:spChg chg="mod">
          <ac:chgData name="Fadi Shafiq Qayed فادي شفيق القائد" userId="0a996b8d-3179-42b5-81f4-b5c8c93a4979" providerId="ADAL" clId="{4149E3F0-A161-42A0-9644-FC3CC302ECCE}" dt="2025-02-05T09:14:31.389" v="322"/>
          <ac:spMkLst>
            <pc:docMk/>
            <pc:sldMk cId="3955282266" sldId="2147483263"/>
            <ac:spMk id="123" creationId="{7C4DBDBC-2F0C-304E-5B68-38836953B50F}"/>
          </ac:spMkLst>
        </pc:spChg>
        <pc:spChg chg="mod">
          <ac:chgData name="Fadi Shafiq Qayed فادي شفيق القائد" userId="0a996b8d-3179-42b5-81f4-b5c8c93a4979" providerId="ADAL" clId="{4149E3F0-A161-42A0-9644-FC3CC302ECCE}" dt="2025-02-05T09:14:00.408" v="287" actId="20577"/>
          <ac:spMkLst>
            <pc:docMk/>
            <pc:sldMk cId="3955282266" sldId="2147483263"/>
            <ac:spMk id="124" creationId="{D761B6A7-5ED0-78B3-D509-07C39B6F83C0}"/>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25" creationId="{72CE1B20-4958-372F-A9BF-830195453079}"/>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28" creationId="{747B95AF-099C-EC79-5AE0-158C0D536B68}"/>
          </ac:spMkLst>
        </pc:spChg>
        <pc:spChg chg="mod">
          <ac:chgData name="Fadi Shafiq Qayed فادي شفيق القائد" userId="0a996b8d-3179-42b5-81f4-b5c8c93a4979" providerId="ADAL" clId="{4149E3F0-A161-42A0-9644-FC3CC302ECCE}" dt="2025-02-05T09:13:56.408" v="274" actId="20577"/>
          <ac:spMkLst>
            <pc:docMk/>
            <pc:sldMk cId="3955282266" sldId="2147483263"/>
            <ac:spMk id="129" creationId="{948FBE66-CBF7-C176-CAAE-EF12A3372A24}"/>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30" creationId="{4D5AF545-7D74-9C64-2BAE-14E04D5DAA6D}"/>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31" creationId="{0514ADA4-D472-B363-6327-9144F7357E11}"/>
          </ac:spMkLst>
        </pc:spChg>
        <pc:spChg chg="mod">
          <ac:chgData name="Fadi Shafiq Qayed فادي شفيق القائد" userId="0a996b8d-3179-42b5-81f4-b5c8c93a4979" providerId="ADAL" clId="{4149E3F0-A161-42A0-9644-FC3CC302ECCE}" dt="2025-02-05T09:13:33.820" v="187" actId="20577"/>
          <ac:spMkLst>
            <pc:docMk/>
            <pc:sldMk cId="3955282266" sldId="2147483263"/>
            <ac:spMk id="132" creationId="{31E5FD63-95DE-CCE1-508A-BB90DDF579E0}"/>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33" creationId="{41C36848-FAE8-21C1-5AD6-4C48818494FB}"/>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34" creationId="{B19C7A12-A97A-EB43-60BD-26B3EEE59164}"/>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35" creationId="{1C787B8B-48BC-2B37-F498-613AEDB381CC}"/>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36" creationId="{E6B619A4-5194-7260-6735-9325FC60FC01}"/>
          </ac:spMkLst>
        </pc:spChg>
        <pc:spChg chg="mod">
          <ac:chgData name="Fadi Shafiq Qayed فادي شفيق القائد" userId="0a996b8d-3179-42b5-81f4-b5c8c93a4979" providerId="ADAL" clId="{4149E3F0-A161-42A0-9644-FC3CC302ECCE}" dt="2025-02-05T09:14:17.629" v="313"/>
          <ac:spMkLst>
            <pc:docMk/>
            <pc:sldMk cId="3955282266" sldId="2147483263"/>
            <ac:spMk id="137" creationId="{ED19BEA6-38CE-BEDB-D146-8122A010FFBB}"/>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38" creationId="{36E7BFE8-D838-9686-B4E7-A1B25994FE6E}"/>
          </ac:spMkLst>
        </pc:spChg>
        <pc:spChg chg="mod">
          <ac:chgData name="Fadi Shafiq Qayed فادي شفيق القائد" userId="0a996b8d-3179-42b5-81f4-b5c8c93a4979" providerId="ADAL" clId="{4149E3F0-A161-42A0-9644-FC3CC302ECCE}" dt="2025-02-05T09:14:23.478" v="314"/>
          <ac:spMkLst>
            <pc:docMk/>
            <pc:sldMk cId="3955282266" sldId="2147483263"/>
            <ac:spMk id="139" creationId="{C1543F4E-6EC3-582F-D69F-E21D5E83EFCF}"/>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48" creationId="{6615B991-F466-8C24-080D-4042974CB132}"/>
          </ac:spMkLst>
        </pc:spChg>
        <pc:spChg chg="mod">
          <ac:chgData name="Fadi Shafiq Qayed فادي شفيق القائد" userId="0a996b8d-3179-42b5-81f4-b5c8c93a4979" providerId="ADAL" clId="{4149E3F0-A161-42A0-9644-FC3CC302ECCE}" dt="2025-02-05T09:13:48.333" v="245" actId="20577"/>
          <ac:spMkLst>
            <pc:docMk/>
            <pc:sldMk cId="3955282266" sldId="2147483263"/>
            <ac:spMk id="149" creationId="{B9CF9B72-B9CC-D196-0286-A236F05E5297}"/>
          </ac:spMkLst>
        </pc:spChg>
        <pc:spChg chg="mod">
          <ac:chgData name="Fadi Shafiq Qayed فادي شفيق القائد" userId="0a996b8d-3179-42b5-81f4-b5c8c93a4979" providerId="ADAL" clId="{4149E3F0-A161-42A0-9644-FC3CC302ECCE}" dt="2025-02-05T09:13:25.509" v="172"/>
          <ac:spMkLst>
            <pc:docMk/>
            <pc:sldMk cId="3955282266" sldId="2147483263"/>
            <ac:spMk id="150" creationId="{D1804675-9134-2104-B4CE-EB4F0CCB7828}"/>
          </ac:spMkLst>
        </pc:spChg>
        <pc:grpChg chg="add mod">
          <ac:chgData name="Fadi Shafiq Qayed فادي شفيق القائد" userId="0a996b8d-3179-42b5-81f4-b5c8c93a4979" providerId="ADAL" clId="{4149E3F0-A161-42A0-9644-FC3CC302ECCE}" dt="2025-02-05T09:13:25.509" v="172"/>
          <ac:grpSpMkLst>
            <pc:docMk/>
            <pc:sldMk cId="3955282266" sldId="2147483263"/>
            <ac:grpSpMk id="107" creationId="{D7750793-D402-1CB4-29C6-A362307552AA}"/>
          </ac:grpSpMkLst>
        </pc:grpChg>
        <pc:grpChg chg="mod">
          <ac:chgData name="Fadi Shafiq Qayed فادي شفيق القائد" userId="0a996b8d-3179-42b5-81f4-b5c8c93a4979" providerId="ADAL" clId="{4149E3F0-A161-42A0-9644-FC3CC302ECCE}" dt="2025-02-05T09:13:25.509" v="172"/>
          <ac:grpSpMkLst>
            <pc:docMk/>
            <pc:sldMk cId="3955282266" sldId="2147483263"/>
            <ac:grpSpMk id="112" creationId="{CDE45AF1-7FE4-C44F-E5C2-B02A3E16C5A8}"/>
          </ac:grpSpMkLst>
        </pc:grpChg>
        <pc:grpChg chg="mod">
          <ac:chgData name="Fadi Shafiq Qayed فادي شفيق القائد" userId="0a996b8d-3179-42b5-81f4-b5c8c93a4979" providerId="ADAL" clId="{4149E3F0-A161-42A0-9644-FC3CC302ECCE}" dt="2025-02-05T09:13:25.509" v="172"/>
          <ac:grpSpMkLst>
            <pc:docMk/>
            <pc:sldMk cId="3955282266" sldId="2147483263"/>
            <ac:grpSpMk id="118" creationId="{F4E19714-DEE2-88FD-2ABA-E800D7ED8EA7}"/>
          </ac:grpSpMkLst>
        </pc:grpChg>
        <pc:grpChg chg="mod">
          <ac:chgData name="Fadi Shafiq Qayed فادي شفيق القائد" userId="0a996b8d-3179-42b5-81f4-b5c8c93a4979" providerId="ADAL" clId="{4149E3F0-A161-42A0-9644-FC3CC302ECCE}" dt="2025-02-05T09:13:25.509" v="172"/>
          <ac:grpSpMkLst>
            <pc:docMk/>
            <pc:sldMk cId="3955282266" sldId="2147483263"/>
            <ac:grpSpMk id="119" creationId="{E6290530-1E4C-E146-4126-900EB76509F3}"/>
          </ac:grpSpMkLst>
        </pc:grpChg>
        <pc:grpChg chg="mod">
          <ac:chgData name="Fadi Shafiq Qayed فادي شفيق القائد" userId="0a996b8d-3179-42b5-81f4-b5c8c93a4979" providerId="ADAL" clId="{4149E3F0-A161-42A0-9644-FC3CC302ECCE}" dt="2025-02-05T09:13:25.509" v="172"/>
          <ac:grpSpMkLst>
            <pc:docMk/>
            <pc:sldMk cId="3955282266" sldId="2147483263"/>
            <ac:grpSpMk id="122" creationId="{296C490F-483B-B75E-1A72-5F01569B6EE7}"/>
          </ac:grpSpMkLst>
        </pc:grpChg>
        <pc:grpChg chg="mod">
          <ac:chgData name="Fadi Shafiq Qayed فادي شفيق القائد" userId="0a996b8d-3179-42b5-81f4-b5c8c93a4979" providerId="ADAL" clId="{4149E3F0-A161-42A0-9644-FC3CC302ECCE}" dt="2025-02-05T09:13:25.509" v="172"/>
          <ac:grpSpMkLst>
            <pc:docMk/>
            <pc:sldMk cId="3955282266" sldId="2147483263"/>
            <ac:grpSpMk id="126" creationId="{C6084A02-3C3C-02BB-3A54-C5AE95FD0325}"/>
          </ac:grpSpMkLst>
        </pc:grpChg>
        <pc:picChg chg="mod">
          <ac:chgData name="Fadi Shafiq Qayed فادي شفيق القائد" userId="0a996b8d-3179-42b5-81f4-b5c8c93a4979" providerId="ADAL" clId="{4149E3F0-A161-42A0-9644-FC3CC302ECCE}" dt="2025-02-05T09:13:25.509" v="172"/>
          <ac:picMkLst>
            <pc:docMk/>
            <pc:sldMk cId="3955282266" sldId="2147483263"/>
            <ac:picMk id="140" creationId="{7EF48819-DEF2-B455-8C5B-E1E663D0A801}"/>
          </ac:picMkLst>
        </pc:picChg>
        <pc:picChg chg="mod">
          <ac:chgData name="Fadi Shafiq Qayed فادي شفيق القائد" userId="0a996b8d-3179-42b5-81f4-b5c8c93a4979" providerId="ADAL" clId="{4149E3F0-A161-42A0-9644-FC3CC302ECCE}" dt="2025-02-05T09:13:25.509" v="172"/>
          <ac:picMkLst>
            <pc:docMk/>
            <pc:sldMk cId="3955282266" sldId="2147483263"/>
            <ac:picMk id="141" creationId="{8E77C788-F8B8-7B59-0AE6-049389249E88}"/>
          </ac:picMkLst>
        </pc:picChg>
        <pc:picChg chg="mod">
          <ac:chgData name="Fadi Shafiq Qayed فادي شفيق القائد" userId="0a996b8d-3179-42b5-81f4-b5c8c93a4979" providerId="ADAL" clId="{4149E3F0-A161-42A0-9644-FC3CC302ECCE}" dt="2025-02-05T09:13:25.509" v="172"/>
          <ac:picMkLst>
            <pc:docMk/>
            <pc:sldMk cId="3955282266" sldId="2147483263"/>
            <ac:picMk id="142" creationId="{BAA9EDF8-DD47-3AA8-A810-BF2A5ABACC43}"/>
          </ac:picMkLst>
        </pc:picChg>
        <pc:picChg chg="mod">
          <ac:chgData name="Fadi Shafiq Qayed فادي شفيق القائد" userId="0a996b8d-3179-42b5-81f4-b5c8c93a4979" providerId="ADAL" clId="{4149E3F0-A161-42A0-9644-FC3CC302ECCE}" dt="2025-02-05T09:13:25.509" v="172"/>
          <ac:picMkLst>
            <pc:docMk/>
            <pc:sldMk cId="3955282266" sldId="2147483263"/>
            <ac:picMk id="143" creationId="{6A877B4C-03C7-FD3A-D161-A426C448FBCD}"/>
          </ac:picMkLst>
        </pc:picChg>
        <pc:picChg chg="mod">
          <ac:chgData name="Fadi Shafiq Qayed فادي شفيق القائد" userId="0a996b8d-3179-42b5-81f4-b5c8c93a4979" providerId="ADAL" clId="{4149E3F0-A161-42A0-9644-FC3CC302ECCE}" dt="2025-02-05T09:13:25.509" v="172"/>
          <ac:picMkLst>
            <pc:docMk/>
            <pc:sldMk cId="3955282266" sldId="2147483263"/>
            <ac:picMk id="144" creationId="{1396EF9C-C629-9A0A-896F-C60F7F14BB8A}"/>
          </ac:picMkLst>
        </pc:picChg>
        <pc:picChg chg="mod">
          <ac:chgData name="Fadi Shafiq Qayed فادي شفيق القائد" userId="0a996b8d-3179-42b5-81f4-b5c8c93a4979" providerId="ADAL" clId="{4149E3F0-A161-42A0-9644-FC3CC302ECCE}" dt="2025-02-05T09:13:25.509" v="172"/>
          <ac:picMkLst>
            <pc:docMk/>
            <pc:sldMk cId="3955282266" sldId="2147483263"/>
            <ac:picMk id="145" creationId="{DFFE668D-DD48-EC68-812A-5B3F64665041}"/>
          </ac:picMkLst>
        </pc:picChg>
        <pc:picChg chg="mod">
          <ac:chgData name="Fadi Shafiq Qayed فادي شفيق القائد" userId="0a996b8d-3179-42b5-81f4-b5c8c93a4979" providerId="ADAL" clId="{4149E3F0-A161-42A0-9644-FC3CC302ECCE}" dt="2025-02-05T09:13:25.509" v="172"/>
          <ac:picMkLst>
            <pc:docMk/>
            <pc:sldMk cId="3955282266" sldId="2147483263"/>
            <ac:picMk id="146" creationId="{3CD5A15F-59ED-1CC4-8F7D-903A3C691F26}"/>
          </ac:picMkLst>
        </pc:picChg>
        <pc:cxnChg chg="add mod">
          <ac:chgData name="Fadi Shafiq Qayed فادي شفيق القائد" userId="0a996b8d-3179-42b5-81f4-b5c8c93a4979" providerId="ADAL" clId="{4149E3F0-A161-42A0-9644-FC3CC302ECCE}" dt="2025-02-05T09:13:25.509" v="172"/>
          <ac:cxnSpMkLst>
            <pc:docMk/>
            <pc:sldMk cId="3955282266" sldId="2147483263"/>
            <ac:cxnSpMk id="102" creationId="{C229EE91-E643-7E79-DCA7-5EBD0A7E4363}"/>
          </ac:cxnSpMkLst>
        </pc:cxnChg>
      </pc:sldChg>
      <pc:sldChg chg="addSp delSp modSp add mod">
        <pc:chgData name="Fadi Shafiq Qayed فادي شفيق القائد" userId="0a996b8d-3179-42b5-81f4-b5c8c93a4979" providerId="ADAL" clId="{4149E3F0-A161-42A0-9644-FC3CC302ECCE}" dt="2025-02-06T08:42:11.037" v="1080" actId="478"/>
        <pc:sldMkLst>
          <pc:docMk/>
          <pc:sldMk cId="1687146237" sldId="2147483265"/>
        </pc:sldMkLst>
        <pc:spChg chg="mod">
          <ac:chgData name="Fadi Shafiq Qayed فادي شفيق القائد" userId="0a996b8d-3179-42b5-81f4-b5c8c93a4979" providerId="ADAL" clId="{4149E3F0-A161-42A0-9644-FC3CC302ECCE}" dt="2025-02-06T08:42:08.197" v="1078" actId="1076"/>
          <ac:spMkLst>
            <pc:docMk/>
            <pc:sldMk cId="1687146237" sldId="2147483265"/>
            <ac:spMk id="5" creationId="{A3561A56-CFE5-2C6E-B0F2-23A2B6C3EDC1}"/>
          </ac:spMkLst>
        </pc:spChg>
        <pc:spChg chg="mod">
          <ac:chgData name="Fadi Shafiq Qayed فادي شفيق القائد" userId="0a996b8d-3179-42b5-81f4-b5c8c93a4979" providerId="ADAL" clId="{4149E3F0-A161-42A0-9644-FC3CC302ECCE}" dt="2025-02-06T08:38:26.429" v="943" actId="20577"/>
          <ac:spMkLst>
            <pc:docMk/>
            <pc:sldMk cId="1687146237" sldId="2147483265"/>
            <ac:spMk id="9" creationId="{CB6C3CCD-2041-DC88-D292-2D9AA60DECA6}"/>
          </ac:spMkLst>
        </pc:spChg>
        <pc:spChg chg="mod">
          <ac:chgData name="Fadi Shafiq Qayed فادي شفيق القائد" userId="0a996b8d-3179-42b5-81f4-b5c8c93a4979" providerId="ADAL" clId="{4149E3F0-A161-42A0-9644-FC3CC302ECCE}" dt="2025-02-06T08:38:21.487" v="922" actId="20577"/>
          <ac:spMkLst>
            <pc:docMk/>
            <pc:sldMk cId="1687146237" sldId="2147483265"/>
            <ac:spMk id="10" creationId="{99358A63-9CC8-D809-9DF1-65B0B7D99570}"/>
          </ac:spMkLst>
        </pc:spChg>
        <pc:spChg chg="mod">
          <ac:chgData name="Fadi Shafiq Qayed فادي شفيق القائد" userId="0a996b8d-3179-42b5-81f4-b5c8c93a4979" providerId="ADAL" clId="{4149E3F0-A161-42A0-9644-FC3CC302ECCE}" dt="2025-02-06T08:38:33.406" v="960" actId="20577"/>
          <ac:spMkLst>
            <pc:docMk/>
            <pc:sldMk cId="1687146237" sldId="2147483265"/>
            <ac:spMk id="12" creationId="{56BAACC1-F81F-5BB4-943D-445FB65E6630}"/>
          </ac:spMkLst>
        </pc:spChg>
        <pc:spChg chg="mod">
          <ac:chgData name="Fadi Shafiq Qayed فادي شفيق القائد" userId="0a996b8d-3179-42b5-81f4-b5c8c93a4979" providerId="ADAL" clId="{4149E3F0-A161-42A0-9644-FC3CC302ECCE}" dt="2025-02-06T08:38:41.536" v="979" actId="20577"/>
          <ac:spMkLst>
            <pc:docMk/>
            <pc:sldMk cId="1687146237" sldId="2147483265"/>
            <ac:spMk id="14" creationId="{5DB9F7D5-2DD8-9B9C-5DB7-7D9F79B80F71}"/>
          </ac:spMkLst>
        </pc:spChg>
        <pc:spChg chg="mod">
          <ac:chgData name="Fadi Shafiq Qayed فادي شفيق القائد" userId="0a996b8d-3179-42b5-81f4-b5c8c93a4979" providerId="ADAL" clId="{4149E3F0-A161-42A0-9644-FC3CC302ECCE}" dt="2025-02-06T08:38:29.851" v="952" actId="20577"/>
          <ac:spMkLst>
            <pc:docMk/>
            <pc:sldMk cId="1687146237" sldId="2147483265"/>
            <ac:spMk id="24" creationId="{93ED032B-5E18-8546-F0E5-584761F5CD8D}"/>
          </ac:spMkLst>
        </pc:spChg>
        <pc:spChg chg="mod">
          <ac:chgData name="Fadi Shafiq Qayed فادي شفيق القائد" userId="0a996b8d-3179-42b5-81f4-b5c8c93a4979" providerId="ADAL" clId="{4149E3F0-A161-42A0-9644-FC3CC302ECCE}" dt="2025-02-06T08:38:47.724" v="1005" actId="20577"/>
          <ac:spMkLst>
            <pc:docMk/>
            <pc:sldMk cId="1687146237" sldId="2147483265"/>
            <ac:spMk id="9221" creationId="{2ACC8662-18E9-CB01-16D8-50F8ECB8187A}"/>
          </ac:spMkLst>
        </pc:spChg>
        <pc:spChg chg="mod">
          <ac:chgData name="Fadi Shafiq Qayed فادي شفيق القائد" userId="0a996b8d-3179-42b5-81f4-b5c8c93a4979" providerId="ADAL" clId="{4149E3F0-A161-42A0-9644-FC3CC302ECCE}" dt="2025-02-06T08:38:17.160" v="916" actId="120"/>
          <ac:spMkLst>
            <pc:docMk/>
            <pc:sldMk cId="1687146237" sldId="2147483265"/>
            <ac:spMk id="9225" creationId="{D0AFE8E7-3A63-8CE4-C107-31145F8EBA3F}"/>
          </ac:spMkLst>
        </pc:spChg>
        <pc:spChg chg="mod">
          <ac:chgData name="Fadi Shafiq Qayed فادي شفيق القائد" userId="0a996b8d-3179-42b5-81f4-b5c8c93a4979" providerId="ADAL" clId="{4149E3F0-A161-42A0-9644-FC3CC302ECCE}" dt="2025-02-06T08:41:48.640" v="1043" actId="207"/>
          <ac:spMkLst>
            <pc:docMk/>
            <pc:sldMk cId="1687146237" sldId="2147483265"/>
            <ac:spMk id="9227" creationId="{37CDD0BE-186B-A412-2DE6-C294DB03AE29}"/>
          </ac:spMkLst>
        </pc:spChg>
        <pc:spChg chg="mod">
          <ac:chgData name="Fadi Shafiq Qayed فادي شفيق القائد" userId="0a996b8d-3179-42b5-81f4-b5c8c93a4979" providerId="ADAL" clId="{4149E3F0-A161-42A0-9644-FC3CC302ECCE}" dt="2025-02-06T08:41:48.640" v="1043" actId="207"/>
          <ac:spMkLst>
            <pc:docMk/>
            <pc:sldMk cId="1687146237" sldId="2147483265"/>
            <ac:spMk id="9229" creationId="{DD367805-E71A-8967-94E2-76E67B084ADB}"/>
          </ac:spMkLst>
        </pc:spChg>
        <pc:spChg chg="mod">
          <ac:chgData name="Fadi Shafiq Qayed فادي شفيق القائد" userId="0a996b8d-3179-42b5-81f4-b5c8c93a4979" providerId="ADAL" clId="{4149E3F0-A161-42A0-9644-FC3CC302ECCE}" dt="2025-02-06T08:41:48.640" v="1043" actId="207"/>
          <ac:spMkLst>
            <pc:docMk/>
            <pc:sldMk cId="1687146237" sldId="2147483265"/>
            <ac:spMk id="9233" creationId="{A3DDE4C9-E526-F758-576E-DF6776717BF8}"/>
          </ac:spMkLst>
        </pc:spChg>
        <pc:spChg chg="mod">
          <ac:chgData name="Fadi Shafiq Qayed فادي شفيق القائد" userId="0a996b8d-3179-42b5-81f4-b5c8c93a4979" providerId="ADAL" clId="{4149E3F0-A161-42A0-9644-FC3CC302ECCE}" dt="2025-02-06T08:41:48.640" v="1043" actId="207"/>
          <ac:spMkLst>
            <pc:docMk/>
            <pc:sldMk cId="1687146237" sldId="2147483265"/>
            <ac:spMk id="9234" creationId="{74293672-8168-F8AE-72D9-A78EE71D16AE}"/>
          </ac:spMkLst>
        </pc:spChg>
        <pc:spChg chg="mod">
          <ac:chgData name="Fadi Shafiq Qayed فادي شفيق القائد" userId="0a996b8d-3179-42b5-81f4-b5c8c93a4979" providerId="ADAL" clId="{4149E3F0-A161-42A0-9644-FC3CC302ECCE}" dt="2025-02-06T08:41:48.640" v="1043" actId="207"/>
          <ac:spMkLst>
            <pc:docMk/>
            <pc:sldMk cId="1687146237" sldId="2147483265"/>
            <ac:spMk id="9235" creationId="{A5F70338-4129-6CB7-8221-31FD854FD2FB}"/>
          </ac:spMkLst>
        </pc:spChg>
        <pc:spChg chg="mod">
          <ac:chgData name="Fadi Shafiq Qayed فادي شفيق القائد" userId="0a996b8d-3179-42b5-81f4-b5c8c93a4979" providerId="ADAL" clId="{4149E3F0-A161-42A0-9644-FC3CC302ECCE}" dt="2025-02-06T08:41:48.640" v="1043" actId="207"/>
          <ac:spMkLst>
            <pc:docMk/>
            <pc:sldMk cId="1687146237" sldId="2147483265"/>
            <ac:spMk id="9236" creationId="{7D1306DE-0671-80F5-D663-C86EB065C54B}"/>
          </ac:spMkLst>
        </pc:spChg>
        <pc:spChg chg="mod">
          <ac:chgData name="Fadi Shafiq Qayed فادي شفيق القائد" userId="0a996b8d-3179-42b5-81f4-b5c8c93a4979" providerId="ADAL" clId="{4149E3F0-A161-42A0-9644-FC3CC302ECCE}" dt="2025-02-06T08:41:48.640" v="1043" actId="207"/>
          <ac:spMkLst>
            <pc:docMk/>
            <pc:sldMk cId="1687146237" sldId="2147483265"/>
            <ac:spMk id="9237" creationId="{F3BA0E8D-E1A9-1D34-3C35-73A201BB8204}"/>
          </ac:spMkLst>
        </pc:spChg>
        <pc:spChg chg="add mod">
          <ac:chgData name="Fadi Shafiq Qayed فادي شفيق القائد" userId="0a996b8d-3179-42b5-81f4-b5c8c93a4979" providerId="ADAL" clId="{4149E3F0-A161-42A0-9644-FC3CC302ECCE}" dt="2025-02-06T08:42:09.366" v="1079" actId="313"/>
          <ac:spMkLst>
            <pc:docMk/>
            <pc:sldMk cId="1687146237" sldId="2147483265"/>
            <ac:spMk id="9410" creationId="{9CC4CD44-41E5-8F61-A799-E85EA3B705F4}"/>
          </ac:spMkLst>
        </pc:spChg>
        <pc:spChg chg="mod">
          <ac:chgData name="Fadi Shafiq Qayed فادي شفيق القائد" userId="0a996b8d-3179-42b5-81f4-b5c8c93a4979" providerId="ADAL" clId="{4149E3F0-A161-42A0-9644-FC3CC302ECCE}" dt="2025-02-06T08:41:48.640" v="1043" actId="207"/>
          <ac:spMkLst>
            <pc:docMk/>
            <pc:sldMk cId="1687146237" sldId="2147483265"/>
            <ac:spMk id="9416" creationId="{57DA72DB-10EE-A7CB-303D-EF2ABE7A5640}"/>
          </ac:spMkLst>
        </pc:spChg>
        <pc:spChg chg="mod">
          <ac:chgData name="Fadi Shafiq Qayed فادي شفيق القائد" userId="0a996b8d-3179-42b5-81f4-b5c8c93a4979" providerId="ADAL" clId="{4149E3F0-A161-42A0-9644-FC3CC302ECCE}" dt="2025-02-06T08:38:54.758" v="1025" actId="20577"/>
          <ac:spMkLst>
            <pc:docMk/>
            <pc:sldMk cId="1687146237" sldId="2147483265"/>
            <ac:spMk id="9438" creationId="{6833FCF4-0266-C8BA-DA80-0A222A416F9D}"/>
          </ac:spMkLst>
        </pc:spChg>
        <pc:cxnChg chg="mod">
          <ac:chgData name="Fadi Shafiq Qayed فادي شفيق القائد" userId="0a996b8d-3179-42b5-81f4-b5c8c93a4979" providerId="ADAL" clId="{4149E3F0-A161-42A0-9644-FC3CC302ECCE}" dt="2025-02-06T08:41:53.821" v="1044" actId="1076"/>
          <ac:cxnSpMkLst>
            <pc:docMk/>
            <pc:sldMk cId="1687146237" sldId="2147483265"/>
            <ac:cxnSpMk id="2" creationId="{63B7447B-485D-61A5-A214-4B27A826B055}"/>
          </ac:cxnSpMkLst>
        </pc:cxnChg>
      </pc:sldChg>
      <pc:sldChg chg="modSp add mod">
        <pc:chgData name="Fadi Shafiq Qayed فادي شفيق القائد" userId="0a996b8d-3179-42b5-81f4-b5c8c93a4979" providerId="ADAL" clId="{4149E3F0-A161-42A0-9644-FC3CC302ECCE}" dt="2025-02-05T09:15:02.032" v="327"/>
        <pc:sldMkLst>
          <pc:docMk/>
          <pc:sldMk cId="1462390751" sldId="2147483266"/>
        </pc:sldMkLst>
      </pc:sldChg>
      <pc:sldChg chg="addSp delSp modSp add del mod">
        <pc:chgData name="Fadi Shafiq Qayed فادي شفيق القائد" userId="0a996b8d-3179-42b5-81f4-b5c8c93a4979" providerId="ADAL" clId="{4149E3F0-A161-42A0-9644-FC3CC302ECCE}" dt="2025-02-05T09:21:18.441" v="466" actId="47"/>
        <pc:sldMkLst>
          <pc:docMk/>
          <pc:sldMk cId="446994328" sldId="2147483267"/>
        </pc:sldMkLst>
      </pc:sldChg>
      <pc:sldChg chg="addSp delSp modSp add mod">
        <pc:chgData name="Fadi Shafiq Qayed فادي شفيق القائد" userId="0a996b8d-3179-42b5-81f4-b5c8c93a4979" providerId="ADAL" clId="{4149E3F0-A161-42A0-9644-FC3CC302ECCE}" dt="2025-02-05T09:26:14.579" v="529"/>
        <pc:sldMkLst>
          <pc:docMk/>
          <pc:sldMk cId="14303249" sldId="2147483268"/>
        </pc:sldMkLst>
        <pc:spChg chg="add mod">
          <ac:chgData name="Fadi Shafiq Qayed فادي شفيق القائد" userId="0a996b8d-3179-42b5-81f4-b5c8c93a4979" providerId="ADAL" clId="{4149E3F0-A161-42A0-9644-FC3CC302ECCE}" dt="2025-02-05T09:21:08.661" v="455" actId="20577"/>
          <ac:spMkLst>
            <pc:docMk/>
            <pc:sldMk cId="14303249" sldId="2147483268"/>
            <ac:spMk id="50" creationId="{A934FFF4-B00F-707E-BF93-DAD365FBE75B}"/>
          </ac:spMkLst>
        </pc:spChg>
        <pc:graphicFrameChg chg="mod modGraphic">
          <ac:chgData name="Fadi Shafiq Qayed فادي شفيق القائد" userId="0a996b8d-3179-42b5-81f4-b5c8c93a4979" providerId="ADAL" clId="{4149E3F0-A161-42A0-9644-FC3CC302ECCE}" dt="2025-02-05T09:26:14.579" v="529"/>
          <ac:graphicFrameMkLst>
            <pc:docMk/>
            <pc:sldMk cId="14303249" sldId="2147483268"/>
            <ac:graphicFrameMk id="26" creationId="{296A2C64-CA7C-D772-85F0-189FC5FC9D82}"/>
          </ac:graphicFrameMkLst>
        </pc:graphicFrameChg>
        <pc:picChg chg="add mod">
          <ac:chgData name="Fadi Shafiq Qayed فادي شفيق القائد" userId="0a996b8d-3179-42b5-81f4-b5c8c93a4979" providerId="ADAL" clId="{4149E3F0-A161-42A0-9644-FC3CC302ECCE}" dt="2025-02-05T09:21:14.563" v="465" actId="1036"/>
          <ac:picMkLst>
            <pc:docMk/>
            <pc:sldMk cId="14303249" sldId="2147483268"/>
            <ac:picMk id="3" creationId="{8F6FC862-942F-127E-FF21-F0B32D05042A}"/>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5" creationId="{6CCFD2D7-CB0E-9732-BEB4-24C3DF5242FA}"/>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6" creationId="{0D168965-6021-7A8D-3445-E548E2BD6E9F}"/>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9" creationId="{E4762C3E-E70D-40DF-723C-A34C552F5C87}"/>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10" creationId="{747A65C7-02D4-AA8F-1C8C-CCC81EC1E525}"/>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11" creationId="{61C878F3-CC41-9C9A-9D42-F42D70151FA5}"/>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12" creationId="{7FE1EBE9-F10D-BCF5-DEFD-CE59D54733F4}"/>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13" creationId="{1C45410C-C120-6136-83D8-FFD87F655F49}"/>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14" creationId="{74037138-25D8-1789-0754-C0CB39CA0BD2}"/>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15" creationId="{67D12B50-D689-B109-98E9-0A6C7B6D16FB}"/>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16" creationId="{37D673A2-6E42-C28C-00F4-44556B5BF837}"/>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17" creationId="{E6A97ECD-4CCB-3A19-554C-77E7E2D26A0B}"/>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18" creationId="{A16CED3B-E63E-18D4-BE6A-C09B944F0DA3}"/>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19" creationId="{71AC1080-A6B5-8B4B-83F7-4CA0E843035B}"/>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20" creationId="{110C03F0-1075-A377-5BE3-15E2EB0EA937}"/>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21" creationId="{9CD9B219-644D-5139-86B8-D30CB6973866}"/>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22" creationId="{9B679FA5-5914-6942-881C-A68A382F9A92}"/>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23" creationId="{FFF5DCE0-AB36-F716-219A-C9F75C5313C6}"/>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24" creationId="{247A7552-C4EC-18EF-406A-BFE00FEA39B9}"/>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25" creationId="{830067DE-2C96-398B-A6E2-58DBEA64F31D}"/>
          </ac:picMkLst>
        </pc:picChg>
        <pc:picChg chg="add mod">
          <ac:chgData name="Fadi Shafiq Qayed فادي شفيق القائد" userId="0a996b8d-3179-42b5-81f4-b5c8c93a4979" providerId="ADAL" clId="{4149E3F0-A161-42A0-9644-FC3CC302ECCE}" dt="2025-02-05T09:21:14.563" v="465" actId="1036"/>
          <ac:picMkLst>
            <pc:docMk/>
            <pc:sldMk cId="14303249" sldId="2147483268"/>
            <ac:picMk id="49" creationId="{50896390-66AB-E6D3-0F4A-20D6BF4DB3EC}"/>
          </ac:picMkLst>
        </pc:picChg>
        <pc:cxnChg chg="mod">
          <ac:chgData name="Fadi Shafiq Qayed فادي شفيق القائد" userId="0a996b8d-3179-42b5-81f4-b5c8c93a4979" providerId="ADAL" clId="{4149E3F0-A161-42A0-9644-FC3CC302ECCE}" dt="2025-02-05T09:20:53.571" v="433" actId="1076"/>
          <ac:cxnSpMkLst>
            <pc:docMk/>
            <pc:sldMk cId="14303249" sldId="2147483268"/>
            <ac:cxnSpMk id="2" creationId="{23916A13-59D6-D008-08D0-1343CED97814}"/>
          </ac:cxnSpMkLst>
        </pc:cxnChg>
      </pc:sldChg>
      <pc:sldChg chg="addSp delSp modSp add mod ord">
        <pc:chgData name="Fadi Shafiq Qayed فادي شفيق القائد" userId="0a996b8d-3179-42b5-81f4-b5c8c93a4979" providerId="ADAL" clId="{4149E3F0-A161-42A0-9644-FC3CC302ECCE}" dt="2025-02-05T09:30:08.501" v="603" actId="1035"/>
        <pc:sldMkLst>
          <pc:docMk/>
          <pc:sldMk cId="3650285050" sldId="2147483269"/>
        </pc:sldMkLst>
        <pc:spChg chg="add mod">
          <ac:chgData name="Fadi Shafiq Qayed فادي شفيق القائد" userId="0a996b8d-3179-42b5-81f4-b5c8c93a4979" providerId="ADAL" clId="{4149E3F0-A161-42A0-9644-FC3CC302ECCE}" dt="2025-02-05T09:29:44.685" v="590" actId="404"/>
          <ac:spMkLst>
            <pc:docMk/>
            <pc:sldMk cId="3650285050" sldId="2147483269"/>
            <ac:spMk id="19" creationId="{11E1E80C-9109-9D49-B118-CF7844A9A88D}"/>
          </ac:spMkLst>
        </pc:spChg>
        <pc:spChg chg="add mod">
          <ac:chgData name="Fadi Shafiq Qayed فادي شفيق القائد" userId="0a996b8d-3179-42b5-81f4-b5c8c93a4979" providerId="ADAL" clId="{4149E3F0-A161-42A0-9644-FC3CC302ECCE}" dt="2025-02-05T09:29:48.368" v="591" actId="1076"/>
          <ac:spMkLst>
            <pc:docMk/>
            <pc:sldMk cId="3650285050" sldId="2147483269"/>
            <ac:spMk id="20" creationId="{9D214E3F-49E9-DDC7-4C63-EF5C88FC143F}"/>
          </ac:spMkLst>
        </pc:spChg>
        <pc:spChg chg="mod">
          <ac:chgData name="Fadi Shafiq Qayed فادي شفيق القائد" userId="0a996b8d-3179-42b5-81f4-b5c8c93a4979" providerId="ADAL" clId="{4149E3F0-A161-42A0-9644-FC3CC302ECCE}" dt="2025-02-05T09:22:26.663" v="477" actId="403"/>
          <ac:spMkLst>
            <pc:docMk/>
            <pc:sldMk cId="3650285050" sldId="2147483269"/>
            <ac:spMk id="31" creationId="{88CF2DB1-9199-D995-A980-21285E4FB9F5}"/>
          </ac:spMkLst>
        </pc:spChg>
        <pc:graphicFrameChg chg="add mod modGraphic">
          <ac:chgData name="Fadi Shafiq Qayed فادي شفيق القائد" userId="0a996b8d-3179-42b5-81f4-b5c8c93a4979" providerId="ADAL" clId="{4149E3F0-A161-42A0-9644-FC3CC302ECCE}" dt="2025-02-05T09:29:22.742" v="584"/>
          <ac:graphicFrameMkLst>
            <pc:docMk/>
            <pc:sldMk cId="3650285050" sldId="2147483269"/>
            <ac:graphicFrameMk id="28" creationId="{65586AA4-ACC4-22DD-2087-1A260829F82B}"/>
          </ac:graphicFrameMkLst>
        </pc:graphicFrameChg>
        <pc:graphicFrameChg chg="add mod modGraphic">
          <ac:chgData name="Fadi Shafiq Qayed فادي شفيق القائد" userId="0a996b8d-3179-42b5-81f4-b5c8c93a4979" providerId="ADAL" clId="{4149E3F0-A161-42A0-9644-FC3CC302ECCE}" dt="2025-02-05T09:30:08.501" v="603" actId="1035"/>
          <ac:graphicFrameMkLst>
            <pc:docMk/>
            <pc:sldMk cId="3650285050" sldId="2147483269"/>
            <ac:graphicFrameMk id="36" creationId="{72EF4CBC-AC2F-DF02-C1E0-FC1ECF2A4717}"/>
          </ac:graphicFrameMkLst>
        </pc:graphicFrameChg>
        <pc:picChg chg="add mod">
          <ac:chgData name="Fadi Shafiq Qayed فادي شفيق القائد" userId="0a996b8d-3179-42b5-81f4-b5c8c93a4979" providerId="ADAL" clId="{4149E3F0-A161-42A0-9644-FC3CC302ECCE}" dt="2025-02-05T09:27:45.559" v="570" actId="1076"/>
          <ac:picMkLst>
            <pc:docMk/>
            <pc:sldMk cId="3650285050" sldId="2147483269"/>
            <ac:picMk id="29" creationId="{2B0B1055-ADBD-22F9-C90E-9304921EF2AD}"/>
          </ac:picMkLst>
        </pc:picChg>
        <pc:picChg chg="add mod">
          <ac:chgData name="Fadi Shafiq Qayed فادي شفيق القائد" userId="0a996b8d-3179-42b5-81f4-b5c8c93a4979" providerId="ADAL" clId="{4149E3F0-A161-42A0-9644-FC3CC302ECCE}" dt="2025-02-05T09:27:45.559" v="570" actId="1076"/>
          <ac:picMkLst>
            <pc:docMk/>
            <pc:sldMk cId="3650285050" sldId="2147483269"/>
            <ac:picMk id="30" creationId="{CADC88A9-F686-6AAB-5651-6C173ADF5015}"/>
          </ac:picMkLst>
        </pc:picChg>
        <pc:picChg chg="add mod">
          <ac:chgData name="Fadi Shafiq Qayed فادي شفيق القائد" userId="0a996b8d-3179-42b5-81f4-b5c8c93a4979" providerId="ADAL" clId="{4149E3F0-A161-42A0-9644-FC3CC302ECCE}" dt="2025-02-05T09:27:45.559" v="570" actId="1076"/>
          <ac:picMkLst>
            <pc:docMk/>
            <pc:sldMk cId="3650285050" sldId="2147483269"/>
            <ac:picMk id="32" creationId="{FA7BB2C1-7082-1F8C-6AF8-E97825DC1429}"/>
          </ac:picMkLst>
        </pc:picChg>
        <pc:picChg chg="add mod">
          <ac:chgData name="Fadi Shafiq Qayed فادي شفيق القائد" userId="0a996b8d-3179-42b5-81f4-b5c8c93a4979" providerId="ADAL" clId="{4149E3F0-A161-42A0-9644-FC3CC302ECCE}" dt="2025-02-05T09:27:45.559" v="570" actId="1076"/>
          <ac:picMkLst>
            <pc:docMk/>
            <pc:sldMk cId="3650285050" sldId="2147483269"/>
            <ac:picMk id="33" creationId="{A663A1E2-E008-0C94-3ECB-8FBAC42A181A}"/>
          </ac:picMkLst>
        </pc:picChg>
        <pc:picChg chg="add mod">
          <ac:chgData name="Fadi Shafiq Qayed فادي شفيق القائد" userId="0a996b8d-3179-42b5-81f4-b5c8c93a4979" providerId="ADAL" clId="{4149E3F0-A161-42A0-9644-FC3CC302ECCE}" dt="2025-02-05T09:27:45.559" v="570" actId="1076"/>
          <ac:picMkLst>
            <pc:docMk/>
            <pc:sldMk cId="3650285050" sldId="2147483269"/>
            <ac:picMk id="34" creationId="{4493E9F5-2DBD-B29E-B5E8-C7834A9FC3EF}"/>
          </ac:picMkLst>
        </pc:picChg>
        <pc:picChg chg="add mod">
          <ac:chgData name="Fadi Shafiq Qayed فادي شفيق القائد" userId="0a996b8d-3179-42b5-81f4-b5c8c93a4979" providerId="ADAL" clId="{4149E3F0-A161-42A0-9644-FC3CC302ECCE}" dt="2025-02-05T09:27:45.559" v="570" actId="1076"/>
          <ac:picMkLst>
            <pc:docMk/>
            <pc:sldMk cId="3650285050" sldId="2147483269"/>
            <ac:picMk id="35" creationId="{6EF8D96F-D3AB-B0ED-AA5E-669F2B543886}"/>
          </ac:picMkLst>
        </pc:picChg>
        <pc:picChg chg="add mod">
          <ac:chgData name="Fadi Shafiq Qayed فادي شفيق القائد" userId="0a996b8d-3179-42b5-81f4-b5c8c93a4979" providerId="ADAL" clId="{4149E3F0-A161-42A0-9644-FC3CC302ECCE}" dt="2025-02-05T09:30:08.501" v="603" actId="1035"/>
          <ac:picMkLst>
            <pc:docMk/>
            <pc:sldMk cId="3650285050" sldId="2147483269"/>
            <ac:picMk id="37" creationId="{0210FD42-5FA0-1A8B-8398-1481ABEFB9E8}"/>
          </ac:picMkLst>
        </pc:picChg>
        <pc:picChg chg="add mod">
          <ac:chgData name="Fadi Shafiq Qayed فادي شفيق القائد" userId="0a996b8d-3179-42b5-81f4-b5c8c93a4979" providerId="ADAL" clId="{4149E3F0-A161-42A0-9644-FC3CC302ECCE}" dt="2025-02-05T09:30:08.501" v="603" actId="1035"/>
          <ac:picMkLst>
            <pc:docMk/>
            <pc:sldMk cId="3650285050" sldId="2147483269"/>
            <ac:picMk id="38" creationId="{8A318ABF-51B7-4E7A-82E6-29C330E10177}"/>
          </ac:picMkLst>
        </pc:picChg>
        <pc:picChg chg="add mod">
          <ac:chgData name="Fadi Shafiq Qayed فادي شفيق القائد" userId="0a996b8d-3179-42b5-81f4-b5c8c93a4979" providerId="ADAL" clId="{4149E3F0-A161-42A0-9644-FC3CC302ECCE}" dt="2025-02-05T09:30:08.501" v="603" actId="1035"/>
          <ac:picMkLst>
            <pc:docMk/>
            <pc:sldMk cId="3650285050" sldId="2147483269"/>
            <ac:picMk id="43" creationId="{E8B05DB6-D23E-D7C2-7F90-B3CF4F062EC7}"/>
          </ac:picMkLst>
        </pc:picChg>
        <pc:picChg chg="add mod">
          <ac:chgData name="Fadi Shafiq Qayed فادي شفيق القائد" userId="0a996b8d-3179-42b5-81f4-b5c8c93a4979" providerId="ADAL" clId="{4149E3F0-A161-42A0-9644-FC3CC302ECCE}" dt="2025-02-05T09:30:08.501" v="603" actId="1035"/>
          <ac:picMkLst>
            <pc:docMk/>
            <pc:sldMk cId="3650285050" sldId="2147483269"/>
            <ac:picMk id="44" creationId="{60D975A8-B77E-0374-D755-962FEA646085}"/>
          </ac:picMkLst>
        </pc:picChg>
        <pc:picChg chg="add mod">
          <ac:chgData name="Fadi Shafiq Qayed فادي شفيق القائد" userId="0a996b8d-3179-42b5-81f4-b5c8c93a4979" providerId="ADAL" clId="{4149E3F0-A161-42A0-9644-FC3CC302ECCE}" dt="2025-02-05T09:30:08.501" v="603" actId="1035"/>
          <ac:picMkLst>
            <pc:docMk/>
            <pc:sldMk cId="3650285050" sldId="2147483269"/>
            <ac:picMk id="45" creationId="{A3EBCEC4-2131-EA00-5208-84AF4A3BF75D}"/>
          </ac:picMkLst>
        </pc:picChg>
        <pc:picChg chg="add mod">
          <ac:chgData name="Fadi Shafiq Qayed فادي شفيق القائد" userId="0a996b8d-3179-42b5-81f4-b5c8c93a4979" providerId="ADAL" clId="{4149E3F0-A161-42A0-9644-FC3CC302ECCE}" dt="2025-02-05T09:30:08.501" v="603" actId="1035"/>
          <ac:picMkLst>
            <pc:docMk/>
            <pc:sldMk cId="3650285050" sldId="2147483269"/>
            <ac:picMk id="46" creationId="{B97EC45C-2E2E-6BAE-B3F8-F84F288AC592}"/>
          </ac:picMkLst>
        </pc:picChg>
        <pc:picChg chg="add mod">
          <ac:chgData name="Fadi Shafiq Qayed فادي شفيق القائد" userId="0a996b8d-3179-42b5-81f4-b5c8c93a4979" providerId="ADAL" clId="{4149E3F0-A161-42A0-9644-FC3CC302ECCE}" dt="2025-02-05T09:30:08.501" v="603" actId="1035"/>
          <ac:picMkLst>
            <pc:docMk/>
            <pc:sldMk cId="3650285050" sldId="2147483269"/>
            <ac:picMk id="47" creationId="{68228134-F1B2-7C0C-A82F-C6F6CD79374F}"/>
          </ac:picMkLst>
        </pc:picChg>
      </pc:sldChg>
      <pc:sldChg chg="addSp delSp modSp add del mod">
        <pc:chgData name="Fadi Shafiq Qayed فادي شفيق القائد" userId="0a996b8d-3179-42b5-81f4-b5c8c93a4979" providerId="ADAL" clId="{4149E3F0-A161-42A0-9644-FC3CC302ECCE}" dt="2025-02-05T09:30:13.558" v="604" actId="47"/>
        <pc:sldMkLst>
          <pc:docMk/>
          <pc:sldMk cId="495091599" sldId="2147483270"/>
        </pc:sldMkLst>
      </pc:sldChg>
      <pc:sldChg chg="addSp delSp modSp add mod">
        <pc:chgData name="Fadi Shafiq Qayed فادي شفيق القائد" userId="0a996b8d-3179-42b5-81f4-b5c8c93a4979" providerId="ADAL" clId="{4149E3F0-A161-42A0-9644-FC3CC302ECCE}" dt="2025-02-05T09:33:30.034" v="666" actId="14100"/>
        <pc:sldMkLst>
          <pc:docMk/>
          <pc:sldMk cId="2515119122" sldId="2147483270"/>
        </pc:sldMkLst>
      </pc:sldChg>
      <pc:sldChg chg="add del">
        <pc:chgData name="Fadi Shafiq Qayed فادي شفيق القائد" userId="0a996b8d-3179-42b5-81f4-b5c8c93a4979" providerId="ADAL" clId="{4149E3F0-A161-42A0-9644-FC3CC302ECCE}" dt="2025-02-06T08:43:05.770" v="1081" actId="47"/>
        <pc:sldMkLst>
          <pc:docMk/>
          <pc:sldMk cId="418106708" sldId="2147483271"/>
        </pc:sldMkLst>
      </pc:sldChg>
      <pc:sldChg chg="addSp delSp modSp add mod ord">
        <pc:chgData name="Fadi Shafiq Qayed فادي شفيق القائد" userId="0a996b8d-3179-42b5-81f4-b5c8c93a4979" providerId="ADAL" clId="{4149E3F0-A161-42A0-9644-FC3CC302ECCE}" dt="2025-02-06T08:47:26.070" v="1215"/>
        <pc:sldMkLst>
          <pc:docMk/>
          <pc:sldMk cId="4158096741" sldId="2147483272"/>
        </pc:sldMkLst>
      </pc:sldChg>
    </pc:docChg>
  </pc:docChgLst>
  <pc:docChgLst>
    <pc:chgData name="Fadi Shafiq Qayed فادي شفيق القائد" userId="0a996b8d-3179-42b5-81f4-b5c8c93a4979" providerId="ADAL" clId="{64BE189A-A25D-48FD-BBD9-A78FC8D378D8}"/>
    <pc:docChg chg="undo custSel addSld delSld modSld sldOrd addMainMaster delMainMaster addSection delSection modSection">
      <pc:chgData name="Fadi Shafiq Qayed فادي شفيق القائد" userId="0a996b8d-3179-42b5-81f4-b5c8c93a4979" providerId="ADAL" clId="{64BE189A-A25D-48FD-BBD9-A78FC8D378D8}" dt="2025-03-10T05:47:29.325" v="786" actId="33524"/>
      <pc:docMkLst>
        <pc:docMk/>
      </pc:docMkLst>
      <pc:sldChg chg="add del">
        <pc:chgData name="Fadi Shafiq Qayed فادي شفيق القائد" userId="0a996b8d-3179-42b5-81f4-b5c8c93a4979" providerId="ADAL" clId="{64BE189A-A25D-48FD-BBD9-A78FC8D378D8}" dt="2025-03-04T08:53:27.315" v="289" actId="47"/>
        <pc:sldMkLst>
          <pc:docMk/>
          <pc:sldMk cId="2001866796" sldId="259"/>
        </pc:sldMkLst>
      </pc:sldChg>
      <pc:sldChg chg="add del">
        <pc:chgData name="Fadi Shafiq Qayed فادي شفيق القائد" userId="0a996b8d-3179-42b5-81f4-b5c8c93a4979" providerId="ADAL" clId="{64BE189A-A25D-48FD-BBD9-A78FC8D378D8}" dt="2025-03-04T08:53:26.463" v="287" actId="47"/>
        <pc:sldMkLst>
          <pc:docMk/>
          <pc:sldMk cId="2442049187" sldId="262"/>
        </pc:sldMkLst>
      </pc:sldChg>
      <pc:sldChg chg="add del">
        <pc:chgData name="Fadi Shafiq Qayed فادي شفيق القائد" userId="0a996b8d-3179-42b5-81f4-b5c8c93a4979" providerId="ADAL" clId="{64BE189A-A25D-48FD-BBD9-A78FC8D378D8}" dt="2025-03-04T08:53:26.116" v="285" actId="47"/>
        <pc:sldMkLst>
          <pc:docMk/>
          <pc:sldMk cId="682054052" sldId="265"/>
        </pc:sldMkLst>
      </pc:sldChg>
      <pc:sldChg chg="add del">
        <pc:chgData name="Fadi Shafiq Qayed فادي شفيق القائد" userId="0a996b8d-3179-42b5-81f4-b5c8c93a4979" providerId="ADAL" clId="{64BE189A-A25D-48FD-BBD9-A78FC8D378D8}" dt="2025-03-04T08:53:27.463" v="290" actId="47"/>
        <pc:sldMkLst>
          <pc:docMk/>
          <pc:sldMk cId="3414801132" sldId="266"/>
        </pc:sldMkLst>
      </pc:sldChg>
      <pc:sldChg chg="add del">
        <pc:chgData name="Fadi Shafiq Qayed فادي شفيق القائد" userId="0a996b8d-3179-42b5-81f4-b5c8c93a4979" providerId="ADAL" clId="{64BE189A-A25D-48FD-BBD9-A78FC8D378D8}" dt="2025-03-04T08:53:26.651" v="288" actId="47"/>
        <pc:sldMkLst>
          <pc:docMk/>
          <pc:sldMk cId="471839244" sldId="268"/>
        </pc:sldMkLst>
      </pc:sldChg>
      <pc:sldChg chg="add del">
        <pc:chgData name="Fadi Shafiq Qayed فادي شفيق القائد" userId="0a996b8d-3179-42b5-81f4-b5c8c93a4979" providerId="ADAL" clId="{64BE189A-A25D-48FD-BBD9-A78FC8D378D8}" dt="2025-03-04T08:53:26.290" v="286" actId="47"/>
        <pc:sldMkLst>
          <pc:docMk/>
          <pc:sldMk cId="1974761877" sldId="270"/>
        </pc:sldMkLst>
      </pc:sldChg>
      <pc:sldChg chg="add del">
        <pc:chgData name="Fadi Shafiq Qayed فادي شفيق القائد" userId="0a996b8d-3179-42b5-81f4-b5c8c93a4979" providerId="ADAL" clId="{64BE189A-A25D-48FD-BBD9-A78FC8D378D8}" dt="2025-03-04T08:53:58.656" v="322" actId="47"/>
        <pc:sldMkLst>
          <pc:docMk/>
          <pc:sldMk cId="2006230201" sldId="2147478777"/>
        </pc:sldMkLst>
      </pc:sldChg>
      <pc:sldChg chg="add del">
        <pc:chgData name="Fadi Shafiq Qayed فادي شفيق القائد" userId="0a996b8d-3179-42b5-81f4-b5c8c93a4979" providerId="ADAL" clId="{64BE189A-A25D-48FD-BBD9-A78FC8D378D8}" dt="2025-03-04T08:47:44.992" v="80"/>
        <pc:sldMkLst>
          <pc:docMk/>
          <pc:sldMk cId="1637105903" sldId="2147478903"/>
        </pc:sldMkLst>
      </pc:sldChg>
      <pc:sldChg chg="add del">
        <pc:chgData name="Fadi Shafiq Qayed فادي شفيق القائد" userId="0a996b8d-3179-42b5-81f4-b5c8c93a4979" providerId="ADAL" clId="{64BE189A-A25D-48FD-BBD9-A78FC8D378D8}" dt="2025-03-04T09:09:50.577" v="647" actId="47"/>
        <pc:sldMkLst>
          <pc:docMk/>
          <pc:sldMk cId="3115484665" sldId="2147478915"/>
        </pc:sldMkLst>
      </pc:sldChg>
      <pc:sldChg chg="add del">
        <pc:chgData name="Fadi Shafiq Qayed فادي شفيق القائد" userId="0a996b8d-3179-42b5-81f4-b5c8c93a4979" providerId="ADAL" clId="{64BE189A-A25D-48FD-BBD9-A78FC8D378D8}" dt="2025-03-04T09:09:51.265" v="648" actId="47"/>
        <pc:sldMkLst>
          <pc:docMk/>
          <pc:sldMk cId="3513444199" sldId="2147478916"/>
        </pc:sldMkLst>
      </pc:sldChg>
      <pc:sldChg chg="add del ord modTransition">
        <pc:chgData name="Fadi Shafiq Qayed فادي شفيق القائد" userId="0a996b8d-3179-42b5-81f4-b5c8c93a4979" providerId="ADAL" clId="{64BE189A-A25D-48FD-BBD9-A78FC8D378D8}" dt="2025-03-04T09:10:09.159" v="652" actId="47"/>
        <pc:sldMkLst>
          <pc:docMk/>
          <pc:sldMk cId="22322865" sldId="2147479596"/>
        </pc:sldMkLst>
      </pc:sldChg>
      <pc:sldChg chg="delSp add del mod modTransition">
        <pc:chgData name="Fadi Shafiq Qayed فادي شفيق القائد" userId="0a996b8d-3179-42b5-81f4-b5c8c93a4979" providerId="ADAL" clId="{64BE189A-A25D-48FD-BBD9-A78FC8D378D8}" dt="2025-03-04T09:25:29.257" v="698" actId="47"/>
        <pc:sldMkLst>
          <pc:docMk/>
          <pc:sldMk cId="859360651" sldId="2147479607"/>
        </pc:sldMkLst>
      </pc:sldChg>
      <pc:sldChg chg="addSp delSp modSp add del mod">
        <pc:chgData name="Fadi Shafiq Qayed فادي شفيق القائد" userId="0a996b8d-3179-42b5-81f4-b5c8c93a4979" providerId="ADAL" clId="{64BE189A-A25D-48FD-BBD9-A78FC8D378D8}" dt="2025-03-10T05:47:29.325" v="786" actId="33524"/>
        <pc:sldMkLst>
          <pc:docMk/>
          <pc:sldMk cId="745239430" sldId="2147479643"/>
        </pc:sldMkLst>
        <pc:spChg chg="mod">
          <ac:chgData name="Fadi Shafiq Qayed فادي شفيق القائد" userId="0a996b8d-3179-42b5-81f4-b5c8c93a4979" providerId="ADAL" clId="{64BE189A-A25D-48FD-BBD9-A78FC8D378D8}" dt="2025-03-10T05:47:29.325" v="786" actId="33524"/>
          <ac:spMkLst>
            <pc:docMk/>
            <pc:sldMk cId="745239430" sldId="2147479643"/>
            <ac:spMk id="6" creationId="{7B582BBA-4FD8-28BA-3C83-D85E8A67098C}"/>
          </ac:spMkLst>
        </pc:spChg>
        <pc:spChg chg="mod">
          <ac:chgData name="Fadi Shafiq Qayed فادي شفيق القائد" userId="0a996b8d-3179-42b5-81f4-b5c8c93a4979" providerId="ADAL" clId="{64BE189A-A25D-48FD-BBD9-A78FC8D378D8}" dt="2025-03-10T05:44:55.648" v="783" actId="6549"/>
          <ac:spMkLst>
            <pc:docMk/>
            <pc:sldMk cId="745239430" sldId="2147479643"/>
            <ac:spMk id="11" creationId="{39D40258-6DED-4FA6-80D0-66ADC1B44BF1}"/>
          </ac:spMkLst>
        </pc:spChg>
        <pc:spChg chg="add mod">
          <ac:chgData name="Fadi Shafiq Qayed فادي شفيق القائد" userId="0a996b8d-3179-42b5-81f4-b5c8c93a4979" providerId="ADAL" clId="{64BE189A-A25D-48FD-BBD9-A78FC8D378D8}" dt="2025-03-04T09:05:26.385" v="613"/>
          <ac:spMkLst>
            <pc:docMk/>
            <pc:sldMk cId="745239430" sldId="2147479643"/>
            <ac:spMk id="13" creationId="{8508F629-30EE-3AB9-0CAD-747DF8B4843E}"/>
          </ac:spMkLst>
        </pc:spChg>
        <pc:picChg chg="mod">
          <ac:chgData name="Fadi Shafiq Qayed فادي شفيق القائد" userId="0a996b8d-3179-42b5-81f4-b5c8c93a4979" providerId="ADAL" clId="{64BE189A-A25D-48FD-BBD9-A78FC8D378D8}" dt="2025-03-10T05:45:06.245" v="785" actId="1076"/>
          <ac:picMkLst>
            <pc:docMk/>
            <pc:sldMk cId="745239430" sldId="2147479643"/>
            <ac:picMk id="2" creationId="{B341CACF-F1FF-0B9C-74BC-923C83E23A3B}"/>
          </ac:picMkLst>
        </pc:picChg>
        <pc:picChg chg="mod">
          <ac:chgData name="Fadi Shafiq Qayed فادي شفيق القائد" userId="0a996b8d-3179-42b5-81f4-b5c8c93a4979" providerId="ADAL" clId="{64BE189A-A25D-48FD-BBD9-A78FC8D378D8}" dt="2025-03-10T05:45:06.245" v="785" actId="1076"/>
          <ac:picMkLst>
            <pc:docMk/>
            <pc:sldMk cId="745239430" sldId="2147479643"/>
            <ac:picMk id="3" creationId="{2FF1C681-91AE-BE46-191D-A73D1DF825AE}"/>
          </ac:picMkLst>
        </pc:picChg>
        <pc:picChg chg="mod">
          <ac:chgData name="Fadi Shafiq Qayed فادي شفيق القائد" userId="0a996b8d-3179-42b5-81f4-b5c8c93a4979" providerId="ADAL" clId="{64BE189A-A25D-48FD-BBD9-A78FC8D378D8}" dt="2025-03-10T05:45:06.245" v="785" actId="1076"/>
          <ac:picMkLst>
            <pc:docMk/>
            <pc:sldMk cId="745239430" sldId="2147479643"/>
            <ac:picMk id="4" creationId="{D78FBC1A-37E1-936E-7C59-A820ACA4F063}"/>
          </ac:picMkLst>
        </pc:picChg>
        <pc:picChg chg="mod">
          <ac:chgData name="Fadi Shafiq Qayed فادي شفيق القائد" userId="0a996b8d-3179-42b5-81f4-b5c8c93a4979" providerId="ADAL" clId="{64BE189A-A25D-48FD-BBD9-A78FC8D378D8}" dt="2025-03-10T05:45:06.245" v="785" actId="1076"/>
          <ac:picMkLst>
            <pc:docMk/>
            <pc:sldMk cId="745239430" sldId="2147479643"/>
            <ac:picMk id="7" creationId="{837C7883-7D98-B743-CE7C-5F03270D6749}"/>
          </ac:picMkLst>
        </pc:picChg>
        <pc:picChg chg="mod">
          <ac:chgData name="Fadi Shafiq Qayed فادي شفيق القائد" userId="0a996b8d-3179-42b5-81f4-b5c8c93a4979" providerId="ADAL" clId="{64BE189A-A25D-48FD-BBD9-A78FC8D378D8}" dt="2025-03-10T05:45:06.245" v="785" actId="1076"/>
          <ac:picMkLst>
            <pc:docMk/>
            <pc:sldMk cId="745239430" sldId="2147479643"/>
            <ac:picMk id="9" creationId="{CA3029E6-359C-5864-2B34-7AAA0357086C}"/>
          </ac:picMkLst>
        </pc:picChg>
        <pc:picChg chg="mod">
          <ac:chgData name="Fadi Shafiq Qayed فادي شفيق القائد" userId="0a996b8d-3179-42b5-81f4-b5c8c93a4979" providerId="ADAL" clId="{64BE189A-A25D-48FD-BBD9-A78FC8D378D8}" dt="2025-03-10T05:45:06.245" v="785" actId="1076"/>
          <ac:picMkLst>
            <pc:docMk/>
            <pc:sldMk cId="745239430" sldId="2147479643"/>
            <ac:picMk id="14" creationId="{9486195B-DA74-870C-8735-FEA88B769E19}"/>
          </ac:picMkLst>
        </pc:picChg>
        <pc:picChg chg="mod">
          <ac:chgData name="Fadi Shafiq Qayed فادي شفيق القائد" userId="0a996b8d-3179-42b5-81f4-b5c8c93a4979" providerId="ADAL" clId="{64BE189A-A25D-48FD-BBD9-A78FC8D378D8}" dt="2025-03-10T05:45:06.245" v="785" actId="1076"/>
          <ac:picMkLst>
            <pc:docMk/>
            <pc:sldMk cId="745239430" sldId="2147479643"/>
            <ac:picMk id="15" creationId="{49CD47F6-8090-243E-8BA8-276DBBDC64B8}"/>
          </ac:picMkLst>
        </pc:picChg>
        <pc:picChg chg="add mod">
          <ac:chgData name="Fadi Shafiq Qayed فادي شفيق القائد" userId="0a996b8d-3179-42b5-81f4-b5c8c93a4979" providerId="ADAL" clId="{64BE189A-A25D-48FD-BBD9-A78FC8D378D8}" dt="2025-03-04T09:25:09.245" v="692" actId="1076"/>
          <ac:picMkLst>
            <pc:docMk/>
            <pc:sldMk cId="745239430" sldId="2147479643"/>
            <ac:picMk id="17" creationId="{027B553F-80E7-AAC4-BED0-F7A8328896ED}"/>
          </ac:picMkLst>
        </pc:picChg>
        <pc:cxnChg chg="mod">
          <ac:chgData name="Fadi Shafiq Qayed فادي شفيق القائد" userId="0a996b8d-3179-42b5-81f4-b5c8c93a4979" providerId="ADAL" clId="{64BE189A-A25D-48FD-BBD9-A78FC8D378D8}" dt="2025-03-10T05:45:03.516" v="784" actId="1076"/>
          <ac:cxnSpMkLst>
            <pc:docMk/>
            <pc:sldMk cId="745239430" sldId="2147479643"/>
            <ac:cxnSpMk id="12" creationId="{632C6F42-B468-C97E-3A79-C45654921FF8}"/>
          </ac:cxnSpMkLst>
        </pc:cxnChg>
      </pc:sldChg>
      <pc:sldChg chg="addSp delSp modSp add del mod">
        <pc:chgData name="Fadi Shafiq Qayed فادي شفيق القائد" userId="0a996b8d-3179-42b5-81f4-b5c8c93a4979" providerId="ADAL" clId="{64BE189A-A25D-48FD-BBD9-A78FC8D378D8}" dt="2025-03-10T05:43:49.592" v="764" actId="20577"/>
        <pc:sldMkLst>
          <pc:docMk/>
          <pc:sldMk cId="2797184016" sldId="2147483217"/>
        </pc:sldMkLst>
        <pc:spChg chg="add mod">
          <ac:chgData name="Fadi Shafiq Qayed فادي شفيق القائد" userId="0a996b8d-3179-42b5-81f4-b5c8c93a4979" providerId="ADAL" clId="{64BE189A-A25D-48FD-BBD9-A78FC8D378D8}" dt="2025-03-04T09:08:31.400" v="634"/>
          <ac:spMkLst>
            <pc:docMk/>
            <pc:sldMk cId="2797184016" sldId="2147483217"/>
            <ac:spMk id="5" creationId="{2C958D1C-0370-DB83-A5C8-D7B0EAE1B8BD}"/>
          </ac:spMkLst>
        </pc:spChg>
        <pc:spChg chg="add mod">
          <ac:chgData name="Fadi Shafiq Qayed فادي شفيق القائد" userId="0a996b8d-3179-42b5-81f4-b5c8c93a4979" providerId="ADAL" clId="{64BE189A-A25D-48FD-BBD9-A78FC8D378D8}" dt="2025-03-04T08:43:54.542" v="16" actId="2711"/>
          <ac:spMkLst>
            <pc:docMk/>
            <pc:sldMk cId="2797184016" sldId="2147483217"/>
            <ac:spMk id="8" creationId="{F650A0E9-547A-ADF1-A02F-672840BDF372}"/>
          </ac:spMkLst>
        </pc:spChg>
        <pc:spChg chg="add mod">
          <ac:chgData name="Fadi Shafiq Qayed فادي شفيق القائد" userId="0a996b8d-3179-42b5-81f4-b5c8c93a4979" providerId="ADAL" clId="{64BE189A-A25D-48FD-BBD9-A78FC8D378D8}" dt="2025-03-10T05:43:49.592" v="764" actId="20577"/>
          <ac:spMkLst>
            <pc:docMk/>
            <pc:sldMk cId="2797184016" sldId="2147483217"/>
            <ac:spMk id="10" creationId="{80484FC1-A82E-12C2-FAC4-E4553123F3D2}"/>
          </ac:spMkLst>
        </pc:spChg>
        <pc:spChg chg="add mod">
          <ac:chgData name="Fadi Shafiq Qayed فادي شفيق القائد" userId="0a996b8d-3179-42b5-81f4-b5c8c93a4979" providerId="ADAL" clId="{64BE189A-A25D-48FD-BBD9-A78FC8D378D8}" dt="2025-03-04T08:43:54.542" v="16" actId="2711"/>
          <ac:spMkLst>
            <pc:docMk/>
            <pc:sldMk cId="2797184016" sldId="2147483217"/>
            <ac:spMk id="11" creationId="{00365DFC-6DF4-B5FF-2D42-CF5840451FA0}"/>
          </ac:spMkLst>
        </pc:spChg>
        <pc:spChg chg="add mod">
          <ac:chgData name="Fadi Shafiq Qayed فادي شفيق القائد" userId="0a996b8d-3179-42b5-81f4-b5c8c93a4979" providerId="ADAL" clId="{64BE189A-A25D-48FD-BBD9-A78FC8D378D8}" dt="2025-03-04T08:43:54.542" v="16" actId="2711"/>
          <ac:spMkLst>
            <pc:docMk/>
            <pc:sldMk cId="2797184016" sldId="2147483217"/>
            <ac:spMk id="12" creationId="{2C9A3CF5-EFAA-2FD2-614F-3B6AF6C4C214}"/>
          </ac:spMkLst>
        </pc:spChg>
        <pc:spChg chg="add mod">
          <ac:chgData name="Fadi Shafiq Qayed فادي شفيق القائد" userId="0a996b8d-3179-42b5-81f4-b5c8c93a4979" providerId="ADAL" clId="{64BE189A-A25D-48FD-BBD9-A78FC8D378D8}" dt="2025-03-10T05:43:31.801" v="749" actId="20577"/>
          <ac:spMkLst>
            <pc:docMk/>
            <pc:sldMk cId="2797184016" sldId="2147483217"/>
            <ac:spMk id="13" creationId="{E3B80A7B-7463-1069-8995-9A3D9B1C0732}"/>
          </ac:spMkLst>
        </pc:spChg>
        <pc:spChg chg="add mod">
          <ac:chgData name="Fadi Shafiq Qayed فادي شفيق القائد" userId="0a996b8d-3179-42b5-81f4-b5c8c93a4979" providerId="ADAL" clId="{64BE189A-A25D-48FD-BBD9-A78FC8D378D8}" dt="2025-03-04T09:05:17.339" v="610" actId="2711"/>
          <ac:spMkLst>
            <pc:docMk/>
            <pc:sldMk cId="2797184016" sldId="2147483217"/>
            <ac:spMk id="14" creationId="{38853B6A-E4FD-D705-2079-8BB9B0A1AB96}"/>
          </ac:spMkLst>
        </pc:spChg>
        <pc:spChg chg="mod">
          <ac:chgData name="Fadi Shafiq Qayed فادي شفيق القائد" userId="0a996b8d-3179-42b5-81f4-b5c8c93a4979" providerId="ADAL" clId="{64BE189A-A25D-48FD-BBD9-A78FC8D378D8}" dt="2025-03-04T08:43:54.542" v="16" actId="2711"/>
          <ac:spMkLst>
            <pc:docMk/>
            <pc:sldMk cId="2797184016" sldId="2147483217"/>
            <ac:spMk id="31" creationId="{E17DE9F7-4557-D9E9-81CF-71632DBB31DF}"/>
          </ac:spMkLst>
        </pc:spChg>
        <pc:picChg chg="add mod">
          <ac:chgData name="Fadi Shafiq Qayed فادي شفيق القائد" userId="0a996b8d-3179-42b5-81f4-b5c8c93a4979" providerId="ADAL" clId="{64BE189A-A25D-48FD-BBD9-A78FC8D378D8}" dt="2025-03-04T08:45:47.571" v="43" actId="208"/>
          <ac:picMkLst>
            <pc:docMk/>
            <pc:sldMk cId="2797184016" sldId="2147483217"/>
            <ac:picMk id="3" creationId="{91CCFD09-037F-472E-3318-3B037A0F5C01}"/>
          </ac:picMkLst>
        </pc:picChg>
        <pc:picChg chg="add mod">
          <ac:chgData name="Fadi Shafiq Qayed فادي شفيق القائد" userId="0a996b8d-3179-42b5-81f4-b5c8c93a4979" providerId="ADAL" clId="{64BE189A-A25D-48FD-BBD9-A78FC8D378D8}" dt="2025-03-04T09:25:11.117" v="693"/>
          <ac:picMkLst>
            <pc:docMk/>
            <pc:sldMk cId="2797184016" sldId="2147483217"/>
            <ac:picMk id="15" creationId="{37D3D615-D7D2-0577-56D2-CB5EE5FD71B6}"/>
          </ac:picMkLst>
        </pc:picChg>
        <pc:cxnChg chg="add mod">
          <ac:chgData name="Fadi Shafiq Qayed فادي شفيق القائد" userId="0a996b8d-3179-42b5-81f4-b5c8c93a4979" providerId="ADAL" clId="{64BE189A-A25D-48FD-BBD9-A78FC8D378D8}" dt="2025-03-04T08:43:05.191" v="6"/>
          <ac:cxnSpMkLst>
            <pc:docMk/>
            <pc:sldMk cId="2797184016" sldId="2147483217"/>
            <ac:cxnSpMk id="9" creationId="{18773E78-95FA-E6E2-B5C8-8678FEC50E66}"/>
          </ac:cxnSpMkLst>
        </pc:cxnChg>
      </pc:sldChg>
      <pc:sldChg chg="addSp delSp modSp add del mod">
        <pc:chgData name="Fadi Shafiq Qayed فادي شفيق القائد" userId="0a996b8d-3179-42b5-81f4-b5c8c93a4979" providerId="ADAL" clId="{64BE189A-A25D-48FD-BBD9-A78FC8D378D8}" dt="2025-03-04T09:08:41.377" v="642"/>
        <pc:sldMkLst>
          <pc:docMk/>
          <pc:sldMk cId="343608988" sldId="2147483231"/>
        </pc:sldMkLst>
        <pc:spChg chg="add del">
          <ac:chgData name="Fadi Shafiq Qayed فادي شفيق القائد" userId="0a996b8d-3179-42b5-81f4-b5c8c93a4979" providerId="ADAL" clId="{64BE189A-A25D-48FD-BBD9-A78FC8D378D8}" dt="2025-03-04T08:43:33.807" v="11" actId="478"/>
          <ac:spMkLst>
            <pc:docMk/>
            <pc:sldMk cId="343608988" sldId="2147483231"/>
            <ac:spMk id="8" creationId="{F0CC72A9-B487-A5ED-F9F4-A85EE72021C0}"/>
          </ac:spMkLst>
        </pc:spChg>
        <pc:spChg chg="add mod">
          <ac:chgData name="Fadi Shafiq Qayed فادي شفيق القائد" userId="0a996b8d-3179-42b5-81f4-b5c8c93a4979" providerId="ADAL" clId="{64BE189A-A25D-48FD-BBD9-A78FC8D378D8}" dt="2025-03-04T09:08:41.377" v="642"/>
          <ac:spMkLst>
            <pc:docMk/>
            <pc:sldMk cId="343608988" sldId="2147483231"/>
            <ac:spMk id="9" creationId="{FBF7345D-CE74-3B50-28F0-E73381631D2B}"/>
          </ac:spMkLst>
        </pc:spChg>
        <pc:spChg chg="add del mod">
          <ac:chgData name="Fadi Shafiq Qayed فادي شفيق القائد" userId="0a996b8d-3179-42b5-81f4-b5c8c93a4979" providerId="ADAL" clId="{64BE189A-A25D-48FD-BBD9-A78FC8D378D8}" dt="2025-03-04T08:44:23.330" v="21"/>
          <ac:spMkLst>
            <pc:docMk/>
            <pc:sldMk cId="343608988" sldId="2147483231"/>
            <ac:spMk id="31" creationId="{1673194E-52B9-72B3-6A2F-B09236705554}"/>
          </ac:spMkLst>
        </pc:spChg>
        <pc:cxnChg chg="add del">
          <ac:chgData name="Fadi Shafiq Qayed فادي شفيق القائد" userId="0a996b8d-3179-42b5-81f4-b5c8c93a4979" providerId="ADAL" clId="{64BE189A-A25D-48FD-BBD9-A78FC8D378D8}" dt="2025-03-04T08:43:33.807" v="11" actId="478"/>
          <ac:cxnSpMkLst>
            <pc:docMk/>
            <pc:sldMk cId="343608988" sldId="2147483231"/>
            <ac:cxnSpMk id="2" creationId="{D43F6339-6D63-1802-DE6B-214282F2A570}"/>
          </ac:cxnSpMkLst>
        </pc:cxnChg>
      </pc:sldChg>
      <pc:sldChg chg="add del">
        <pc:chgData name="Fadi Shafiq Qayed فادي شفيق القائد" userId="0a996b8d-3179-42b5-81f4-b5c8c93a4979" providerId="ADAL" clId="{64BE189A-A25D-48FD-BBD9-A78FC8D378D8}" dt="2025-03-04T08:53:23.730" v="281" actId="47"/>
        <pc:sldMkLst>
          <pc:docMk/>
          <pc:sldMk cId="4277919319" sldId="2147483238"/>
        </pc:sldMkLst>
      </pc:sldChg>
      <pc:sldChg chg="addSp delSp modSp add del mod">
        <pc:chgData name="Fadi Shafiq Qayed فادي شفيق القائد" userId="0a996b8d-3179-42b5-81f4-b5c8c93a4979" providerId="ADAL" clId="{64BE189A-A25D-48FD-BBD9-A78FC8D378D8}" dt="2025-03-04T08:55:43.636" v="407" actId="20577"/>
        <pc:sldMkLst>
          <pc:docMk/>
          <pc:sldMk cId="2941107404" sldId="2147483248"/>
        </pc:sldMkLst>
        <pc:spChg chg="mod topLvl">
          <ac:chgData name="Fadi Shafiq Qayed فادي شفيق القائد" userId="0a996b8d-3179-42b5-81f4-b5c8c93a4979" providerId="ADAL" clId="{64BE189A-A25D-48FD-BBD9-A78FC8D378D8}" dt="2025-03-04T08:55:32.243" v="402" actId="165"/>
          <ac:spMkLst>
            <pc:docMk/>
            <pc:sldMk cId="2941107404" sldId="2147483248"/>
            <ac:spMk id="5" creationId="{6D7600F4-536E-AEFC-9811-693BE7354DB9}"/>
          </ac:spMkLst>
        </pc:spChg>
        <pc:spChg chg="mod topLvl">
          <ac:chgData name="Fadi Shafiq Qayed فادي شفيق القائد" userId="0a996b8d-3179-42b5-81f4-b5c8c93a4979" providerId="ADAL" clId="{64BE189A-A25D-48FD-BBD9-A78FC8D378D8}" dt="2025-03-04T08:50:50.232" v="143" actId="165"/>
          <ac:spMkLst>
            <pc:docMk/>
            <pc:sldMk cId="2941107404" sldId="2147483248"/>
            <ac:spMk id="6" creationId="{F880E31C-D8AC-6638-028F-5C3607AB23AA}"/>
          </ac:spMkLst>
        </pc:spChg>
        <pc:spChg chg="mod topLvl">
          <ac:chgData name="Fadi Shafiq Qayed فادي شفيق القائد" userId="0a996b8d-3179-42b5-81f4-b5c8c93a4979" providerId="ADAL" clId="{64BE189A-A25D-48FD-BBD9-A78FC8D378D8}" dt="2025-03-04T08:55:32.243" v="402" actId="165"/>
          <ac:spMkLst>
            <pc:docMk/>
            <pc:sldMk cId="2941107404" sldId="2147483248"/>
            <ac:spMk id="10" creationId="{7AAA38E0-D7C8-0542-EFE3-7FF919FA74A3}"/>
          </ac:spMkLst>
        </pc:spChg>
        <pc:spChg chg="mod topLvl">
          <ac:chgData name="Fadi Shafiq Qayed فادي شفيق القائد" userId="0a996b8d-3179-42b5-81f4-b5c8c93a4979" providerId="ADAL" clId="{64BE189A-A25D-48FD-BBD9-A78FC8D378D8}" dt="2025-03-04T08:50:50.232" v="143" actId="165"/>
          <ac:spMkLst>
            <pc:docMk/>
            <pc:sldMk cId="2941107404" sldId="2147483248"/>
            <ac:spMk id="11" creationId="{BFB5C582-69A3-9036-E359-7519AF09A290}"/>
          </ac:spMkLst>
        </pc:spChg>
        <pc:spChg chg="add mod topLvl">
          <ac:chgData name="Fadi Shafiq Qayed فادي شفيق القائد" userId="0a996b8d-3179-42b5-81f4-b5c8c93a4979" providerId="ADAL" clId="{64BE189A-A25D-48FD-BBD9-A78FC8D378D8}" dt="2025-03-04T08:55:32.243" v="402" actId="165"/>
          <ac:spMkLst>
            <pc:docMk/>
            <pc:sldMk cId="2941107404" sldId="2147483248"/>
            <ac:spMk id="12" creationId="{6FFE1F04-D5EE-7D55-2362-B74B6EFAF7D5}"/>
          </ac:spMkLst>
        </pc:spChg>
        <pc:spChg chg="mod">
          <ac:chgData name="Fadi Shafiq Qayed فادي شفيق القائد" userId="0a996b8d-3179-42b5-81f4-b5c8c93a4979" providerId="ADAL" clId="{64BE189A-A25D-48FD-BBD9-A78FC8D378D8}" dt="2025-03-04T08:50:34.235" v="140" actId="255"/>
          <ac:spMkLst>
            <pc:docMk/>
            <pc:sldMk cId="2941107404" sldId="2147483248"/>
            <ac:spMk id="13" creationId="{4B529193-7297-3A6E-5A11-1ECDDAE5A743}"/>
          </ac:spMkLst>
        </pc:spChg>
        <pc:spChg chg="mod">
          <ac:chgData name="Fadi Shafiq Qayed فادي شفيق القائد" userId="0a996b8d-3179-42b5-81f4-b5c8c93a4979" providerId="ADAL" clId="{64BE189A-A25D-48FD-BBD9-A78FC8D378D8}" dt="2025-03-04T08:50:34.235" v="140" actId="255"/>
          <ac:spMkLst>
            <pc:docMk/>
            <pc:sldMk cId="2941107404" sldId="2147483248"/>
            <ac:spMk id="14" creationId="{A736DB79-C24A-9E38-CB9A-35A81B281954}"/>
          </ac:spMkLst>
        </pc:spChg>
        <pc:spChg chg="mod topLvl">
          <ac:chgData name="Fadi Shafiq Qayed فادي شفيق القائد" userId="0a996b8d-3179-42b5-81f4-b5c8c93a4979" providerId="ADAL" clId="{64BE189A-A25D-48FD-BBD9-A78FC8D378D8}" dt="2025-03-04T08:55:32.243" v="402" actId="165"/>
          <ac:spMkLst>
            <pc:docMk/>
            <pc:sldMk cId="2941107404" sldId="2147483248"/>
            <ac:spMk id="15" creationId="{C73CBC21-44A7-6E4F-7537-AB4478FB10B6}"/>
          </ac:spMkLst>
        </pc:spChg>
        <pc:spChg chg="mod topLvl">
          <ac:chgData name="Fadi Shafiq Qayed فادي شفيق القائد" userId="0a996b8d-3179-42b5-81f4-b5c8c93a4979" providerId="ADAL" clId="{64BE189A-A25D-48FD-BBD9-A78FC8D378D8}" dt="2025-03-04T08:55:32.243" v="402" actId="165"/>
          <ac:spMkLst>
            <pc:docMk/>
            <pc:sldMk cId="2941107404" sldId="2147483248"/>
            <ac:spMk id="16" creationId="{073D74E6-D83A-335A-74C0-2378B7CDCFE0}"/>
          </ac:spMkLst>
        </pc:spChg>
        <pc:spChg chg="add mod topLvl">
          <ac:chgData name="Fadi Shafiq Qayed فادي شفيق القائد" userId="0a996b8d-3179-42b5-81f4-b5c8c93a4979" providerId="ADAL" clId="{64BE189A-A25D-48FD-BBD9-A78FC8D378D8}" dt="2025-03-04T08:55:32.243" v="402" actId="165"/>
          <ac:spMkLst>
            <pc:docMk/>
            <pc:sldMk cId="2941107404" sldId="2147483248"/>
            <ac:spMk id="18" creationId="{97E6D132-5EFE-5B15-C3B0-DAFF43DBE12E}"/>
          </ac:spMkLst>
        </pc:spChg>
        <pc:spChg chg="add mod topLvl">
          <ac:chgData name="Fadi Shafiq Qayed فادي شفيق القائد" userId="0a996b8d-3179-42b5-81f4-b5c8c93a4979" providerId="ADAL" clId="{64BE189A-A25D-48FD-BBD9-A78FC8D378D8}" dt="2025-03-04T08:55:43.636" v="407" actId="20577"/>
          <ac:spMkLst>
            <pc:docMk/>
            <pc:sldMk cId="2941107404" sldId="2147483248"/>
            <ac:spMk id="20" creationId="{873C26D0-E2CF-4130-FA9C-A3AC1545E296}"/>
          </ac:spMkLst>
        </pc:spChg>
        <pc:spChg chg="mod topLvl">
          <ac:chgData name="Fadi Shafiq Qayed فادي شفيق القائد" userId="0a996b8d-3179-42b5-81f4-b5c8c93a4979" providerId="ADAL" clId="{64BE189A-A25D-48FD-BBD9-A78FC8D378D8}" dt="2025-03-04T08:55:32.243" v="402" actId="165"/>
          <ac:spMkLst>
            <pc:docMk/>
            <pc:sldMk cId="2941107404" sldId="2147483248"/>
            <ac:spMk id="23" creationId="{20CFE57B-7CB9-2CE9-89AE-806A84AD3F0A}"/>
          </ac:spMkLst>
        </pc:spChg>
        <pc:spChg chg="add mod">
          <ac:chgData name="Fadi Shafiq Qayed فادي شفيق القائد" userId="0a996b8d-3179-42b5-81f4-b5c8c93a4979" providerId="ADAL" clId="{64BE189A-A25D-48FD-BBD9-A78FC8D378D8}" dt="2025-03-04T08:54:59.039" v="400" actId="20577"/>
          <ac:spMkLst>
            <pc:docMk/>
            <pc:sldMk cId="2941107404" sldId="2147483248"/>
            <ac:spMk id="25" creationId="{15140035-538A-BE8D-BA7E-D8DD960E46BC}"/>
          </ac:spMkLst>
        </pc:spChg>
        <pc:spChg chg="mod">
          <ac:chgData name="Fadi Shafiq Qayed فادي شفيق القائد" userId="0a996b8d-3179-42b5-81f4-b5c8c93a4979" providerId="ADAL" clId="{64BE189A-A25D-48FD-BBD9-A78FC8D378D8}" dt="2025-03-04T08:52:03.310" v="171"/>
          <ac:spMkLst>
            <pc:docMk/>
            <pc:sldMk cId="2941107404" sldId="2147483248"/>
            <ac:spMk id="33" creationId="{7009D4B5-3FC1-8B9A-01CC-41E1B143BD87}"/>
          </ac:spMkLst>
        </pc:spChg>
        <pc:spChg chg="mod topLvl">
          <ac:chgData name="Fadi Shafiq Qayed فادي شفيق القائد" userId="0a996b8d-3179-42b5-81f4-b5c8c93a4979" providerId="ADAL" clId="{64BE189A-A25D-48FD-BBD9-A78FC8D378D8}" dt="2025-03-04T08:50:50.232" v="143" actId="165"/>
          <ac:spMkLst>
            <pc:docMk/>
            <pc:sldMk cId="2941107404" sldId="2147483248"/>
            <ac:spMk id="34" creationId="{279EC2D3-57B1-43C3-0AE4-63E50D0F4873}"/>
          </ac:spMkLst>
        </pc:spChg>
        <pc:spChg chg="mod topLvl">
          <ac:chgData name="Fadi Shafiq Qayed فادي شفيق القائد" userId="0a996b8d-3179-42b5-81f4-b5c8c93a4979" providerId="ADAL" clId="{64BE189A-A25D-48FD-BBD9-A78FC8D378D8}" dt="2025-03-04T08:55:32.243" v="402" actId="165"/>
          <ac:spMkLst>
            <pc:docMk/>
            <pc:sldMk cId="2941107404" sldId="2147483248"/>
            <ac:spMk id="36" creationId="{E1D17E74-2960-E87C-9313-9661C4D404E4}"/>
          </ac:spMkLst>
        </pc:spChg>
        <pc:spChg chg="mod topLvl">
          <ac:chgData name="Fadi Shafiq Qayed فادي شفيق القائد" userId="0a996b8d-3179-42b5-81f4-b5c8c93a4979" providerId="ADAL" clId="{64BE189A-A25D-48FD-BBD9-A78FC8D378D8}" dt="2025-03-04T08:55:32.243" v="402" actId="165"/>
          <ac:spMkLst>
            <pc:docMk/>
            <pc:sldMk cId="2941107404" sldId="2147483248"/>
            <ac:spMk id="37" creationId="{7353F6FA-5E3D-ACC1-50C6-27D73887E138}"/>
          </ac:spMkLst>
        </pc:spChg>
        <pc:spChg chg="mod">
          <ac:chgData name="Fadi Shafiq Qayed فادي شفيق القائد" userId="0a996b8d-3179-42b5-81f4-b5c8c93a4979" providerId="ADAL" clId="{64BE189A-A25D-48FD-BBD9-A78FC8D378D8}" dt="2025-03-04T08:52:09.062" v="174" actId="20577"/>
          <ac:spMkLst>
            <pc:docMk/>
            <pc:sldMk cId="2941107404" sldId="2147483248"/>
            <ac:spMk id="38" creationId="{A72F8214-A03D-0697-C921-C43DE1957955}"/>
          </ac:spMkLst>
        </pc:spChg>
        <pc:picChg chg="add mod">
          <ac:chgData name="Fadi Shafiq Qayed فادي شفيق القائد" userId="0a996b8d-3179-42b5-81f4-b5c8c93a4979" providerId="ADAL" clId="{64BE189A-A25D-48FD-BBD9-A78FC8D378D8}" dt="2025-03-04T08:55:36.569" v="403" actId="14826"/>
          <ac:picMkLst>
            <pc:docMk/>
            <pc:sldMk cId="2941107404" sldId="2147483248"/>
            <ac:picMk id="21" creationId="{A2D4DF6F-4230-6C1D-604B-BD5E91CBF533}"/>
          </ac:picMkLst>
        </pc:picChg>
      </pc:sldChg>
      <pc:sldChg chg="add del">
        <pc:chgData name="Fadi Shafiq Qayed فادي شفيق القائد" userId="0a996b8d-3179-42b5-81f4-b5c8c93a4979" providerId="ADAL" clId="{64BE189A-A25D-48FD-BBD9-A78FC8D378D8}" dt="2025-03-04T08:58:49.994" v="487" actId="47"/>
        <pc:sldMkLst>
          <pc:docMk/>
          <pc:sldMk cId="2478802502" sldId="2147483252"/>
        </pc:sldMkLst>
      </pc:sldChg>
      <pc:sldChg chg="add del">
        <pc:chgData name="Fadi Shafiq Qayed فادي شفيق القائد" userId="0a996b8d-3179-42b5-81f4-b5c8c93a4979" providerId="ADAL" clId="{64BE189A-A25D-48FD-BBD9-A78FC8D378D8}" dt="2025-03-04T08:53:24.001" v="282" actId="47"/>
        <pc:sldMkLst>
          <pc:docMk/>
          <pc:sldMk cId="3346203133" sldId="2147483260"/>
        </pc:sldMkLst>
      </pc:sldChg>
      <pc:sldChg chg="add del">
        <pc:chgData name="Fadi Shafiq Qayed فادي شفيق القائد" userId="0a996b8d-3179-42b5-81f4-b5c8c93a4979" providerId="ADAL" clId="{64BE189A-A25D-48FD-BBD9-A78FC8D378D8}" dt="2025-03-04T08:53:24.524" v="283" actId="47"/>
        <pc:sldMkLst>
          <pc:docMk/>
          <pc:sldMk cId="3817699629" sldId="2147483261"/>
        </pc:sldMkLst>
      </pc:sldChg>
      <pc:sldChg chg="delSp modSp add del mod">
        <pc:chgData name="Fadi Shafiq Qayed فادي شفيق القائد" userId="0a996b8d-3179-42b5-81f4-b5c8c93a4979" providerId="ADAL" clId="{64BE189A-A25D-48FD-BBD9-A78FC8D378D8}" dt="2025-03-04T08:57:47.025" v="455" actId="1035"/>
        <pc:sldMkLst>
          <pc:docMk/>
          <pc:sldMk cId="3955282266" sldId="2147483263"/>
        </pc:sldMkLst>
        <pc:spChg chg="mod">
          <ac:chgData name="Fadi Shafiq Qayed فادي شفيق القائد" userId="0a996b8d-3179-42b5-81f4-b5c8c93a4979" providerId="ADAL" clId="{64BE189A-A25D-48FD-BBD9-A78FC8D378D8}" dt="2025-03-04T08:56:25.154" v="415" actId="2711"/>
          <ac:spMkLst>
            <pc:docMk/>
            <pc:sldMk cId="3955282266" sldId="2147483263"/>
            <ac:spMk id="8" creationId="{D9A1FA87-0EA5-5A02-B24D-AED023B2CC04}"/>
          </ac:spMkLst>
        </pc:spChg>
        <pc:spChg chg="mod">
          <ac:chgData name="Fadi Shafiq Qayed فادي شفيق القائد" userId="0a996b8d-3179-42b5-81f4-b5c8c93a4979" providerId="ADAL" clId="{64BE189A-A25D-48FD-BBD9-A78FC8D378D8}" dt="2025-03-04T08:56:25.154" v="415" actId="2711"/>
          <ac:spMkLst>
            <pc:docMk/>
            <pc:sldMk cId="3955282266" sldId="2147483263"/>
            <ac:spMk id="31" creationId="{F2A511B5-D921-85A1-8BEF-6B289BE7E139}"/>
          </ac:spMkLst>
        </pc:spChg>
        <pc:spChg chg="mod">
          <ac:chgData name="Fadi Shafiq Qayed فادي شفيق القائد" userId="0a996b8d-3179-42b5-81f4-b5c8c93a4979" providerId="ADAL" clId="{64BE189A-A25D-48FD-BBD9-A78FC8D378D8}" dt="2025-03-04T08:56:25.154" v="415" actId="2711"/>
          <ac:spMkLst>
            <pc:docMk/>
            <pc:sldMk cId="3955282266" sldId="2147483263"/>
            <ac:spMk id="101" creationId="{42804414-8F25-1085-8317-20689F6FF939}"/>
          </ac:spMkLst>
        </pc:spChg>
        <pc:spChg chg="mod topLvl">
          <ac:chgData name="Fadi Shafiq Qayed فادي شفيق القائد" userId="0a996b8d-3179-42b5-81f4-b5c8c93a4979" providerId="ADAL" clId="{64BE189A-A25D-48FD-BBD9-A78FC8D378D8}" dt="2025-03-04T08:56:25.154" v="415" actId="2711"/>
          <ac:spMkLst>
            <pc:docMk/>
            <pc:sldMk cId="3955282266" sldId="2147483263"/>
            <ac:spMk id="104" creationId="{3F756A01-BD25-1D8A-3656-C2BECD3CE141}"/>
          </ac:spMkLst>
        </pc:spChg>
        <pc:spChg chg="mod">
          <ac:chgData name="Fadi Shafiq Qayed فادي شفيق القائد" userId="0a996b8d-3179-42b5-81f4-b5c8c93a4979" providerId="ADAL" clId="{64BE189A-A25D-48FD-BBD9-A78FC8D378D8}" dt="2025-03-04T08:56:43.558" v="420" actId="108"/>
          <ac:spMkLst>
            <pc:docMk/>
            <pc:sldMk cId="3955282266" sldId="2147483263"/>
            <ac:spMk id="105" creationId="{7EB2C664-D3C1-BDF1-892A-B40A61465312}"/>
          </ac:spMkLst>
        </pc:spChg>
        <pc:spChg chg="mod topLvl">
          <ac:chgData name="Fadi Shafiq Qayed فادي شفيق القائد" userId="0a996b8d-3179-42b5-81f4-b5c8c93a4979" providerId="ADAL" clId="{64BE189A-A25D-48FD-BBD9-A78FC8D378D8}" dt="2025-03-04T08:56:08.491" v="410" actId="165"/>
          <ac:spMkLst>
            <pc:docMk/>
            <pc:sldMk cId="3955282266" sldId="2147483263"/>
            <ac:spMk id="106" creationId="{830B2948-04E5-6EB9-5E7D-E49723C2386E}"/>
          </ac:spMkLst>
        </pc:spChg>
        <pc:spChg chg="mod">
          <ac:chgData name="Fadi Shafiq Qayed فادي شفيق القائد" userId="0a996b8d-3179-42b5-81f4-b5c8c93a4979" providerId="ADAL" clId="{64BE189A-A25D-48FD-BBD9-A78FC8D378D8}" dt="2025-03-04T08:56:46.266" v="422" actId="108"/>
          <ac:spMkLst>
            <pc:docMk/>
            <pc:sldMk cId="3955282266" sldId="2147483263"/>
            <ac:spMk id="109" creationId="{C4A5F37E-F97A-E197-5F5F-5CECA00E89E1}"/>
          </ac:spMkLst>
        </pc:spChg>
        <pc:spChg chg="mod topLvl">
          <ac:chgData name="Fadi Shafiq Qayed فادي شفيق القائد" userId="0a996b8d-3179-42b5-81f4-b5c8c93a4979" providerId="ADAL" clId="{64BE189A-A25D-48FD-BBD9-A78FC8D378D8}" dt="2025-03-04T08:56:25.154" v="415" actId="2711"/>
          <ac:spMkLst>
            <pc:docMk/>
            <pc:sldMk cId="3955282266" sldId="2147483263"/>
            <ac:spMk id="113" creationId="{3A0FC6BB-B547-BB02-FB43-1CA83DC84C6A}"/>
          </ac:spMkLst>
        </pc:spChg>
        <pc:spChg chg="mod topLvl">
          <ac:chgData name="Fadi Shafiq Qayed فادي شفيق القائد" userId="0a996b8d-3179-42b5-81f4-b5c8c93a4979" providerId="ADAL" clId="{64BE189A-A25D-48FD-BBD9-A78FC8D378D8}" dt="2025-03-04T08:57:41.153" v="444" actId="1035"/>
          <ac:spMkLst>
            <pc:docMk/>
            <pc:sldMk cId="3955282266" sldId="2147483263"/>
            <ac:spMk id="114" creationId="{78635EB2-E1CD-8103-41EC-EAB22C392E25}"/>
          </ac:spMkLst>
        </pc:spChg>
        <pc:spChg chg="mod">
          <ac:chgData name="Fadi Shafiq Qayed فادي شفيق القائد" userId="0a996b8d-3179-42b5-81f4-b5c8c93a4979" providerId="ADAL" clId="{64BE189A-A25D-48FD-BBD9-A78FC8D378D8}" dt="2025-03-04T08:57:44.224" v="449" actId="1035"/>
          <ac:spMkLst>
            <pc:docMk/>
            <pc:sldMk cId="3955282266" sldId="2147483263"/>
            <ac:spMk id="116" creationId="{FE80B7B9-5A3C-DE73-1B7A-10551C5D9709}"/>
          </ac:spMkLst>
        </pc:spChg>
        <pc:spChg chg="mod topLvl">
          <ac:chgData name="Fadi Shafiq Qayed فادي شفيق القائد" userId="0a996b8d-3179-42b5-81f4-b5c8c93a4979" providerId="ADAL" clId="{64BE189A-A25D-48FD-BBD9-A78FC8D378D8}" dt="2025-03-04T08:57:04.791" v="427" actId="108"/>
          <ac:spMkLst>
            <pc:docMk/>
            <pc:sldMk cId="3955282266" sldId="2147483263"/>
            <ac:spMk id="117" creationId="{E9F754C0-6A30-C57D-F22E-7F2551EBBFD9}"/>
          </ac:spMkLst>
        </pc:spChg>
        <pc:spChg chg="mod">
          <ac:chgData name="Fadi Shafiq Qayed فادي شفيق القائد" userId="0a996b8d-3179-42b5-81f4-b5c8c93a4979" providerId="ADAL" clId="{64BE189A-A25D-48FD-BBD9-A78FC8D378D8}" dt="2025-03-04T08:56:58.303" v="424" actId="108"/>
          <ac:spMkLst>
            <pc:docMk/>
            <pc:sldMk cId="3955282266" sldId="2147483263"/>
            <ac:spMk id="120" creationId="{B8B4685B-C4CC-A176-A587-37EA5D5C17FC}"/>
          </ac:spMkLst>
        </pc:spChg>
        <pc:spChg chg="mod">
          <ac:chgData name="Fadi Shafiq Qayed فادي شفيق القائد" userId="0a996b8d-3179-42b5-81f4-b5c8c93a4979" providerId="ADAL" clId="{64BE189A-A25D-48FD-BBD9-A78FC8D378D8}" dt="2025-03-04T08:57:03.906" v="426" actId="108"/>
          <ac:spMkLst>
            <pc:docMk/>
            <pc:sldMk cId="3955282266" sldId="2147483263"/>
            <ac:spMk id="123" creationId="{7C4DBDBC-2F0C-304E-5B68-38836953B50F}"/>
          </ac:spMkLst>
        </pc:spChg>
        <pc:spChg chg="mod topLvl">
          <ac:chgData name="Fadi Shafiq Qayed فادي شفيق القائد" userId="0a996b8d-3179-42b5-81f4-b5c8c93a4979" providerId="ADAL" clId="{64BE189A-A25D-48FD-BBD9-A78FC8D378D8}" dt="2025-03-04T08:56:33.514" v="417" actId="2711"/>
          <ac:spMkLst>
            <pc:docMk/>
            <pc:sldMk cId="3955282266" sldId="2147483263"/>
            <ac:spMk id="124" creationId="{D761B6A7-5ED0-78B3-D509-07C39B6F83C0}"/>
          </ac:spMkLst>
        </pc:spChg>
        <pc:spChg chg="mod topLvl">
          <ac:chgData name="Fadi Shafiq Qayed فادي شفيق القائد" userId="0a996b8d-3179-42b5-81f4-b5c8c93a4979" providerId="ADAL" clId="{64BE189A-A25D-48FD-BBD9-A78FC8D378D8}" dt="2025-03-04T08:56:11.813" v="411" actId="165"/>
          <ac:spMkLst>
            <pc:docMk/>
            <pc:sldMk cId="3955282266" sldId="2147483263"/>
            <ac:spMk id="128" creationId="{747B95AF-099C-EC79-5AE0-158C0D536B68}"/>
          </ac:spMkLst>
        </pc:spChg>
        <pc:spChg chg="mod topLvl">
          <ac:chgData name="Fadi Shafiq Qayed فادي شفيق القائد" userId="0a996b8d-3179-42b5-81f4-b5c8c93a4979" providerId="ADAL" clId="{64BE189A-A25D-48FD-BBD9-A78FC8D378D8}" dt="2025-03-04T08:56:40.132" v="419" actId="1076"/>
          <ac:spMkLst>
            <pc:docMk/>
            <pc:sldMk cId="3955282266" sldId="2147483263"/>
            <ac:spMk id="129" creationId="{948FBE66-CBF7-C176-CAAE-EF12A3372A24}"/>
          </ac:spMkLst>
        </pc:spChg>
        <pc:spChg chg="mod topLvl">
          <ac:chgData name="Fadi Shafiq Qayed فادي شفيق القائد" userId="0a996b8d-3179-42b5-81f4-b5c8c93a4979" providerId="ADAL" clId="{64BE189A-A25D-48FD-BBD9-A78FC8D378D8}" dt="2025-03-04T08:56:11.813" v="411" actId="165"/>
          <ac:spMkLst>
            <pc:docMk/>
            <pc:sldMk cId="3955282266" sldId="2147483263"/>
            <ac:spMk id="130" creationId="{4D5AF545-7D74-9C64-2BAE-14E04D5DAA6D}"/>
          </ac:spMkLst>
        </pc:spChg>
        <pc:spChg chg="mod">
          <ac:chgData name="Fadi Shafiq Qayed فادي شفيق القائد" userId="0a996b8d-3179-42b5-81f4-b5c8c93a4979" providerId="ADAL" clId="{64BE189A-A25D-48FD-BBD9-A78FC8D378D8}" dt="2025-03-04T08:56:45.366" v="421" actId="108"/>
          <ac:spMkLst>
            <pc:docMk/>
            <pc:sldMk cId="3955282266" sldId="2147483263"/>
            <ac:spMk id="132" creationId="{31E5FD63-95DE-CCE1-508A-BB90DDF579E0}"/>
          </ac:spMkLst>
        </pc:spChg>
        <pc:spChg chg="mod">
          <ac:chgData name="Fadi Shafiq Qayed فادي شفيق القائد" userId="0a996b8d-3179-42b5-81f4-b5c8c93a4979" providerId="ADAL" clId="{64BE189A-A25D-48FD-BBD9-A78FC8D378D8}" dt="2025-03-04T08:57:10.410" v="429" actId="108"/>
          <ac:spMkLst>
            <pc:docMk/>
            <pc:sldMk cId="3955282266" sldId="2147483263"/>
            <ac:spMk id="134" creationId="{B19C7A12-A97A-EB43-60BD-26B3EEE59164}"/>
          </ac:spMkLst>
        </pc:spChg>
        <pc:spChg chg="mod">
          <ac:chgData name="Fadi Shafiq Qayed فادي شفيق القائد" userId="0a996b8d-3179-42b5-81f4-b5c8c93a4979" providerId="ADAL" clId="{64BE189A-A25D-48FD-BBD9-A78FC8D378D8}" dt="2025-03-04T08:57:02.841" v="425" actId="108"/>
          <ac:spMkLst>
            <pc:docMk/>
            <pc:sldMk cId="3955282266" sldId="2147483263"/>
            <ac:spMk id="137" creationId="{ED19BEA6-38CE-BEDB-D146-8122A010FFBB}"/>
          </ac:spMkLst>
        </pc:spChg>
        <pc:spChg chg="mod">
          <ac:chgData name="Fadi Shafiq Qayed فادي شفيق القائد" userId="0a996b8d-3179-42b5-81f4-b5c8c93a4979" providerId="ADAL" clId="{64BE189A-A25D-48FD-BBD9-A78FC8D378D8}" dt="2025-03-04T08:57:47.025" v="455" actId="1035"/>
          <ac:spMkLst>
            <pc:docMk/>
            <pc:sldMk cId="3955282266" sldId="2147483263"/>
            <ac:spMk id="138" creationId="{36E7BFE8-D838-9686-B4E7-A1B25994FE6E}"/>
          </ac:spMkLst>
        </pc:spChg>
        <pc:spChg chg="mod">
          <ac:chgData name="Fadi Shafiq Qayed فادي شفيق القائد" userId="0a996b8d-3179-42b5-81f4-b5c8c93a4979" providerId="ADAL" clId="{64BE189A-A25D-48FD-BBD9-A78FC8D378D8}" dt="2025-03-04T08:56:51.988" v="423" actId="2711"/>
          <ac:spMkLst>
            <pc:docMk/>
            <pc:sldMk cId="3955282266" sldId="2147483263"/>
            <ac:spMk id="139" creationId="{C1543F4E-6EC3-582F-D69F-E21D5E83EFCF}"/>
          </ac:spMkLst>
        </pc:spChg>
        <pc:spChg chg="mod topLvl">
          <ac:chgData name="Fadi Shafiq Qayed فادي شفيق القائد" userId="0a996b8d-3179-42b5-81f4-b5c8c93a4979" providerId="ADAL" clId="{64BE189A-A25D-48FD-BBD9-A78FC8D378D8}" dt="2025-03-04T08:56:25.154" v="415" actId="2711"/>
          <ac:spMkLst>
            <pc:docMk/>
            <pc:sldMk cId="3955282266" sldId="2147483263"/>
            <ac:spMk id="148" creationId="{6615B991-F466-8C24-080D-4042974CB132}"/>
          </ac:spMkLst>
        </pc:spChg>
        <pc:spChg chg="mod topLvl">
          <ac:chgData name="Fadi Shafiq Qayed فادي شفيق القائد" userId="0a996b8d-3179-42b5-81f4-b5c8c93a4979" providerId="ADAL" clId="{64BE189A-A25D-48FD-BBD9-A78FC8D378D8}" dt="2025-03-04T08:56:37.271" v="418" actId="2711"/>
          <ac:spMkLst>
            <pc:docMk/>
            <pc:sldMk cId="3955282266" sldId="2147483263"/>
            <ac:spMk id="149" creationId="{B9CF9B72-B9CC-D196-0286-A236F05E5297}"/>
          </ac:spMkLst>
        </pc:spChg>
        <pc:spChg chg="mod topLvl">
          <ac:chgData name="Fadi Shafiq Qayed فادي شفيق القائد" userId="0a996b8d-3179-42b5-81f4-b5c8c93a4979" providerId="ADAL" clId="{64BE189A-A25D-48FD-BBD9-A78FC8D378D8}" dt="2025-03-04T08:56:15.552" v="412" actId="165"/>
          <ac:spMkLst>
            <pc:docMk/>
            <pc:sldMk cId="3955282266" sldId="2147483263"/>
            <ac:spMk id="150" creationId="{D1804675-9134-2104-B4CE-EB4F0CCB7828}"/>
          </ac:spMkLst>
        </pc:spChg>
        <pc:grpChg chg="mod">
          <ac:chgData name="Fadi Shafiq Qayed فادي شفيق القائد" userId="0a996b8d-3179-42b5-81f4-b5c8c93a4979" providerId="ADAL" clId="{64BE189A-A25D-48FD-BBD9-A78FC8D378D8}" dt="2025-03-04T08:57:36.213" v="439" actId="1035"/>
          <ac:grpSpMkLst>
            <pc:docMk/>
            <pc:sldMk cId="3955282266" sldId="2147483263"/>
            <ac:grpSpMk id="118" creationId="{F4E19714-DEE2-88FD-2ABA-E800D7ED8EA7}"/>
          </ac:grpSpMkLst>
        </pc:grpChg>
        <pc:grpChg chg="mod">
          <ac:chgData name="Fadi Shafiq Qayed فادي شفيق القائد" userId="0a996b8d-3179-42b5-81f4-b5c8c93a4979" providerId="ADAL" clId="{64BE189A-A25D-48FD-BBD9-A78FC8D378D8}" dt="2025-03-04T08:57:41.153" v="444" actId="1035"/>
          <ac:grpSpMkLst>
            <pc:docMk/>
            <pc:sldMk cId="3955282266" sldId="2147483263"/>
            <ac:grpSpMk id="122" creationId="{296C490F-483B-B75E-1A72-5F01569B6EE7}"/>
          </ac:grpSpMkLst>
        </pc:grpChg>
      </pc:sldChg>
      <pc:sldChg chg="modSp add del mod">
        <pc:chgData name="Fadi Shafiq Qayed فادي شفيق القائد" userId="0a996b8d-3179-42b5-81f4-b5c8c93a4979" providerId="ADAL" clId="{64BE189A-A25D-48FD-BBD9-A78FC8D378D8}" dt="2025-03-04T08:58:30.152" v="485" actId="1076"/>
        <pc:sldMkLst>
          <pc:docMk/>
          <pc:sldMk cId="1687146237" sldId="2147483265"/>
        </pc:sldMkLst>
        <pc:spChg chg="mod">
          <ac:chgData name="Fadi Shafiq Qayed فادي شفيق القائد" userId="0a996b8d-3179-42b5-81f4-b5c8c93a4979" providerId="ADAL" clId="{64BE189A-A25D-48FD-BBD9-A78FC8D378D8}" dt="2025-03-04T08:58:28.379" v="484" actId="1076"/>
          <ac:spMkLst>
            <pc:docMk/>
            <pc:sldMk cId="1687146237" sldId="2147483265"/>
            <ac:spMk id="9" creationId="{CB6C3CCD-2041-DC88-D292-2D9AA60DECA6}"/>
          </ac:spMkLst>
        </pc:spChg>
        <pc:spChg chg="mod">
          <ac:chgData name="Fadi Shafiq Qayed فادي شفيق القائد" userId="0a996b8d-3179-42b5-81f4-b5c8c93a4979" providerId="ADAL" clId="{64BE189A-A25D-48FD-BBD9-A78FC8D378D8}" dt="2025-03-04T08:58:18.332" v="477" actId="108"/>
          <ac:spMkLst>
            <pc:docMk/>
            <pc:sldMk cId="1687146237" sldId="2147483265"/>
            <ac:spMk id="10" creationId="{99358A63-9CC8-D809-9DF1-65B0B7D99570}"/>
          </ac:spMkLst>
        </pc:spChg>
        <pc:spChg chg="mod">
          <ac:chgData name="Fadi Shafiq Qayed فادي شفيق القائد" userId="0a996b8d-3179-42b5-81f4-b5c8c93a4979" providerId="ADAL" clId="{64BE189A-A25D-48FD-BBD9-A78FC8D378D8}" dt="2025-03-04T08:58:23.520" v="480" actId="108"/>
          <ac:spMkLst>
            <pc:docMk/>
            <pc:sldMk cId="1687146237" sldId="2147483265"/>
            <ac:spMk id="12" creationId="{56BAACC1-F81F-5BB4-943D-445FB65E6630}"/>
          </ac:spMkLst>
        </pc:spChg>
        <pc:spChg chg="mod">
          <ac:chgData name="Fadi Shafiq Qayed فادي شفيق القائد" userId="0a996b8d-3179-42b5-81f4-b5c8c93a4979" providerId="ADAL" clId="{64BE189A-A25D-48FD-BBD9-A78FC8D378D8}" dt="2025-03-04T08:58:24.287" v="481" actId="108"/>
          <ac:spMkLst>
            <pc:docMk/>
            <pc:sldMk cId="1687146237" sldId="2147483265"/>
            <ac:spMk id="14" creationId="{5DB9F7D5-2DD8-9B9C-5DB7-7D9F79B80F71}"/>
          </ac:spMkLst>
        </pc:spChg>
        <pc:spChg chg="mod">
          <ac:chgData name="Fadi Shafiq Qayed فادي شفيق القائد" userId="0a996b8d-3179-42b5-81f4-b5c8c93a4979" providerId="ADAL" clId="{64BE189A-A25D-48FD-BBD9-A78FC8D378D8}" dt="2025-03-04T08:58:30.152" v="485" actId="1076"/>
          <ac:spMkLst>
            <pc:docMk/>
            <pc:sldMk cId="1687146237" sldId="2147483265"/>
            <ac:spMk id="24" creationId="{93ED032B-5E18-8546-F0E5-584761F5CD8D}"/>
          </ac:spMkLst>
        </pc:spChg>
        <pc:spChg chg="mod">
          <ac:chgData name="Fadi Shafiq Qayed فادي شفيق القائد" userId="0a996b8d-3179-42b5-81f4-b5c8c93a4979" providerId="ADAL" clId="{64BE189A-A25D-48FD-BBD9-A78FC8D378D8}" dt="2025-03-04T08:58:24.868" v="482" actId="108"/>
          <ac:spMkLst>
            <pc:docMk/>
            <pc:sldMk cId="1687146237" sldId="2147483265"/>
            <ac:spMk id="9221" creationId="{2ACC8662-18E9-CB01-16D8-50F8ECB8187A}"/>
          </ac:spMkLst>
        </pc:spChg>
        <pc:spChg chg="mod">
          <ac:chgData name="Fadi Shafiq Qayed فادي شفيق القائد" userId="0a996b8d-3179-42b5-81f4-b5c8c93a4979" providerId="ADAL" clId="{64BE189A-A25D-48FD-BBD9-A78FC8D378D8}" dt="2025-03-04T08:58:16.152" v="476" actId="2711"/>
          <ac:spMkLst>
            <pc:docMk/>
            <pc:sldMk cId="1687146237" sldId="2147483265"/>
            <ac:spMk id="9225" creationId="{D0AFE8E7-3A63-8CE4-C107-31145F8EBA3F}"/>
          </ac:spMkLst>
        </pc:spChg>
        <pc:spChg chg="mod">
          <ac:chgData name="Fadi Shafiq Qayed فادي شفيق القائد" userId="0a996b8d-3179-42b5-81f4-b5c8c93a4979" providerId="ADAL" clId="{64BE189A-A25D-48FD-BBD9-A78FC8D378D8}" dt="2025-03-04T08:58:11.233" v="471" actId="108"/>
          <ac:spMkLst>
            <pc:docMk/>
            <pc:sldMk cId="1687146237" sldId="2147483265"/>
            <ac:spMk id="9227" creationId="{37CDD0BE-186B-A412-2DE6-C294DB03AE29}"/>
          </ac:spMkLst>
        </pc:spChg>
        <pc:spChg chg="mod">
          <ac:chgData name="Fadi Shafiq Qayed فادي شفيق القائد" userId="0a996b8d-3179-42b5-81f4-b5c8c93a4979" providerId="ADAL" clId="{64BE189A-A25D-48FD-BBD9-A78FC8D378D8}" dt="2025-03-04T08:58:10.763" v="470" actId="108"/>
          <ac:spMkLst>
            <pc:docMk/>
            <pc:sldMk cId="1687146237" sldId="2147483265"/>
            <ac:spMk id="9229" creationId="{DD367805-E71A-8967-94E2-76E67B084ADB}"/>
          </ac:spMkLst>
        </pc:spChg>
        <pc:spChg chg="mod">
          <ac:chgData name="Fadi Shafiq Qayed فادي شفيق القائد" userId="0a996b8d-3179-42b5-81f4-b5c8c93a4979" providerId="ADAL" clId="{64BE189A-A25D-48FD-BBD9-A78FC8D378D8}" dt="2025-03-04T08:58:08.794" v="469" actId="108"/>
          <ac:spMkLst>
            <pc:docMk/>
            <pc:sldMk cId="1687146237" sldId="2147483265"/>
            <ac:spMk id="9233" creationId="{A3DDE4C9-E526-F758-576E-DF6776717BF8}"/>
          </ac:spMkLst>
        </pc:spChg>
        <pc:spChg chg="mod">
          <ac:chgData name="Fadi Shafiq Qayed فادي شفيق القائد" userId="0a996b8d-3179-42b5-81f4-b5c8c93a4979" providerId="ADAL" clId="{64BE189A-A25D-48FD-BBD9-A78FC8D378D8}" dt="2025-03-04T08:58:04.708" v="468" actId="20577"/>
          <ac:spMkLst>
            <pc:docMk/>
            <pc:sldMk cId="1687146237" sldId="2147483265"/>
            <ac:spMk id="9234" creationId="{74293672-8168-F8AE-72D9-A78EE71D16AE}"/>
          </ac:spMkLst>
        </pc:spChg>
        <pc:spChg chg="mod">
          <ac:chgData name="Fadi Shafiq Qayed فادي شفيق القائد" userId="0a996b8d-3179-42b5-81f4-b5c8c93a4979" providerId="ADAL" clId="{64BE189A-A25D-48FD-BBD9-A78FC8D378D8}" dt="2025-03-04T08:58:11.934" v="472" actId="108"/>
          <ac:spMkLst>
            <pc:docMk/>
            <pc:sldMk cId="1687146237" sldId="2147483265"/>
            <ac:spMk id="9235" creationId="{A5F70338-4129-6CB7-8221-31FD854FD2FB}"/>
          </ac:spMkLst>
        </pc:spChg>
        <pc:spChg chg="mod">
          <ac:chgData name="Fadi Shafiq Qayed فادي شفيق القائد" userId="0a996b8d-3179-42b5-81f4-b5c8c93a4979" providerId="ADAL" clId="{64BE189A-A25D-48FD-BBD9-A78FC8D378D8}" dt="2025-03-04T08:58:12.559" v="473" actId="108"/>
          <ac:spMkLst>
            <pc:docMk/>
            <pc:sldMk cId="1687146237" sldId="2147483265"/>
            <ac:spMk id="9236" creationId="{7D1306DE-0671-80F5-D663-C86EB065C54B}"/>
          </ac:spMkLst>
        </pc:spChg>
        <pc:spChg chg="mod">
          <ac:chgData name="Fadi Shafiq Qayed فادي شفيق القائد" userId="0a996b8d-3179-42b5-81f4-b5c8c93a4979" providerId="ADAL" clId="{64BE189A-A25D-48FD-BBD9-A78FC8D378D8}" dt="2025-03-04T08:58:13.004" v="474" actId="108"/>
          <ac:spMkLst>
            <pc:docMk/>
            <pc:sldMk cId="1687146237" sldId="2147483265"/>
            <ac:spMk id="9237" creationId="{F3BA0E8D-E1A9-1D34-3C35-73A201BB8204}"/>
          </ac:spMkLst>
        </pc:spChg>
        <pc:spChg chg="mod">
          <ac:chgData name="Fadi Shafiq Qayed فادي شفيق القائد" userId="0a996b8d-3179-42b5-81f4-b5c8c93a4979" providerId="ADAL" clId="{64BE189A-A25D-48FD-BBD9-A78FC8D378D8}" dt="2025-03-04T08:58:13.437" v="475" actId="108"/>
          <ac:spMkLst>
            <pc:docMk/>
            <pc:sldMk cId="1687146237" sldId="2147483265"/>
            <ac:spMk id="9416" creationId="{57DA72DB-10EE-A7CB-303D-EF2ABE7A5640}"/>
          </ac:spMkLst>
        </pc:spChg>
        <pc:spChg chg="mod">
          <ac:chgData name="Fadi Shafiq Qayed فادي شفيق القائد" userId="0a996b8d-3179-42b5-81f4-b5c8c93a4979" providerId="ADAL" clId="{64BE189A-A25D-48FD-BBD9-A78FC8D378D8}" dt="2025-03-04T08:58:25.486" v="483" actId="108"/>
          <ac:spMkLst>
            <pc:docMk/>
            <pc:sldMk cId="1687146237" sldId="2147483265"/>
            <ac:spMk id="9438" creationId="{6833FCF4-0266-C8BA-DA80-0A222A416F9D}"/>
          </ac:spMkLst>
        </pc:spChg>
      </pc:sldChg>
      <pc:sldChg chg="add del">
        <pc:chgData name="Fadi Shafiq Qayed فادي شفيق القائد" userId="0a996b8d-3179-42b5-81f4-b5c8c93a4979" providerId="ADAL" clId="{64BE189A-A25D-48FD-BBD9-A78FC8D378D8}" dt="2025-03-04T08:58:37.536" v="486" actId="47"/>
        <pc:sldMkLst>
          <pc:docMk/>
          <pc:sldMk cId="1462390751" sldId="2147483266"/>
        </pc:sldMkLst>
      </pc:sldChg>
      <pc:sldChg chg="add del">
        <pc:chgData name="Fadi Shafiq Qayed فادي شفيق القائد" userId="0a996b8d-3179-42b5-81f4-b5c8c93a4979" providerId="ADAL" clId="{64BE189A-A25D-48FD-BBD9-A78FC8D378D8}" dt="2025-03-04T08:43:19.517" v="8" actId="47"/>
        <pc:sldMkLst>
          <pc:docMk/>
          <pc:sldMk cId="14303249" sldId="2147483268"/>
        </pc:sldMkLst>
      </pc:sldChg>
      <pc:sldChg chg="add del">
        <pc:chgData name="Fadi Shafiq Qayed فادي شفيق القائد" userId="0a996b8d-3179-42b5-81f4-b5c8c93a4979" providerId="ADAL" clId="{64BE189A-A25D-48FD-BBD9-A78FC8D378D8}" dt="2025-03-04T08:43:19.517" v="8" actId="47"/>
        <pc:sldMkLst>
          <pc:docMk/>
          <pc:sldMk cId="3650285050" sldId="2147483269"/>
        </pc:sldMkLst>
      </pc:sldChg>
      <pc:sldChg chg="add del">
        <pc:chgData name="Fadi Shafiq Qayed فادي شفيق القائد" userId="0a996b8d-3179-42b5-81f4-b5c8c93a4979" providerId="ADAL" clId="{64BE189A-A25D-48FD-BBD9-A78FC8D378D8}" dt="2025-03-04T08:53:23.357" v="280" actId="47"/>
        <pc:sldMkLst>
          <pc:docMk/>
          <pc:sldMk cId="2515119122" sldId="2147483270"/>
        </pc:sldMkLst>
      </pc:sldChg>
      <pc:sldChg chg="add del">
        <pc:chgData name="Fadi Shafiq Qayed فادي شفيق القائد" userId="0a996b8d-3179-42b5-81f4-b5c8c93a4979" providerId="ADAL" clId="{64BE189A-A25D-48FD-BBD9-A78FC8D378D8}" dt="2025-03-04T08:53:25.935" v="284" actId="47"/>
        <pc:sldMkLst>
          <pc:docMk/>
          <pc:sldMk cId="1314409046" sldId="2147483273"/>
        </pc:sldMkLst>
      </pc:sldChg>
      <pc:sldChg chg="add del">
        <pc:chgData name="Fadi Shafiq Qayed فادي شفيق القائد" userId="0a996b8d-3179-42b5-81f4-b5c8c93a4979" providerId="ADAL" clId="{64BE189A-A25D-48FD-BBD9-A78FC8D378D8}" dt="2025-03-04T08:53:27.698" v="291" actId="47"/>
        <pc:sldMkLst>
          <pc:docMk/>
          <pc:sldMk cId="184114879" sldId="2147483274"/>
        </pc:sldMkLst>
      </pc:sldChg>
      <pc:sldChg chg="add del">
        <pc:chgData name="Fadi Shafiq Qayed فادي شفيق القائد" userId="0a996b8d-3179-42b5-81f4-b5c8c93a4979" providerId="ADAL" clId="{64BE189A-A25D-48FD-BBD9-A78FC8D378D8}" dt="2025-03-04T08:53:29.251" v="300" actId="47"/>
        <pc:sldMkLst>
          <pc:docMk/>
          <pc:sldMk cId="3434194669" sldId="2147483275"/>
        </pc:sldMkLst>
      </pc:sldChg>
      <pc:sldChg chg="modSp add del mod">
        <pc:chgData name="Fadi Shafiq Qayed فادي شفيق القائد" userId="0a996b8d-3179-42b5-81f4-b5c8c93a4979" providerId="ADAL" clId="{64BE189A-A25D-48FD-BBD9-A78FC8D378D8}" dt="2025-03-05T07:44:57.372" v="708" actId="1076"/>
        <pc:sldMkLst>
          <pc:docMk/>
          <pc:sldMk cId="1842288810" sldId="2147483276"/>
        </pc:sldMkLst>
        <pc:spChg chg="mod">
          <ac:chgData name="Fadi Shafiq Qayed فادي شفيق القائد" userId="0a996b8d-3179-42b5-81f4-b5c8c93a4979" providerId="ADAL" clId="{64BE189A-A25D-48FD-BBD9-A78FC8D378D8}" dt="2025-03-05T07:44:57.372" v="708" actId="1076"/>
          <ac:spMkLst>
            <pc:docMk/>
            <pc:sldMk cId="1842288810" sldId="2147483276"/>
            <ac:spMk id="2" creationId="{CB690557-55BD-21BC-3882-D0BA295C11B2}"/>
          </ac:spMkLst>
        </pc:spChg>
      </pc:sldChg>
      <pc:sldChg chg="modSp add del mod">
        <pc:chgData name="Fadi Shafiq Qayed فادي شفيق القائد" userId="0a996b8d-3179-42b5-81f4-b5c8c93a4979" providerId="ADAL" clId="{64BE189A-A25D-48FD-BBD9-A78FC8D378D8}" dt="2025-03-05T07:44:51.185" v="707" actId="1076"/>
        <pc:sldMkLst>
          <pc:docMk/>
          <pc:sldMk cId="3958946941" sldId="2147483277"/>
        </pc:sldMkLst>
        <pc:spChg chg="mod">
          <ac:chgData name="Fadi Shafiq Qayed فادي شفيق القائد" userId="0a996b8d-3179-42b5-81f4-b5c8c93a4979" providerId="ADAL" clId="{64BE189A-A25D-48FD-BBD9-A78FC8D378D8}" dt="2025-03-05T07:44:51.185" v="707" actId="1076"/>
          <ac:spMkLst>
            <pc:docMk/>
            <pc:sldMk cId="3958946941" sldId="2147483277"/>
            <ac:spMk id="2" creationId="{438DC16C-5B68-BC0D-EBEC-4FCBB2D31E67}"/>
          </ac:spMkLst>
        </pc:spChg>
      </pc:sldChg>
      <pc:sldChg chg="add del">
        <pc:chgData name="Fadi Shafiq Qayed فادي شفيق القائد" userId="0a996b8d-3179-42b5-81f4-b5c8c93a4979" providerId="ADAL" clId="{64BE189A-A25D-48FD-BBD9-A78FC8D378D8}" dt="2025-03-04T08:53:29.460" v="301" actId="47"/>
        <pc:sldMkLst>
          <pc:docMk/>
          <pc:sldMk cId="552546083" sldId="2147483278"/>
        </pc:sldMkLst>
      </pc:sldChg>
      <pc:sldChg chg="add del">
        <pc:chgData name="Fadi Shafiq Qayed فادي شفيق القائد" userId="0a996b8d-3179-42b5-81f4-b5c8c93a4979" providerId="ADAL" clId="{64BE189A-A25D-48FD-BBD9-A78FC8D378D8}" dt="2025-03-04T08:53:29.619" v="302" actId="47"/>
        <pc:sldMkLst>
          <pc:docMk/>
          <pc:sldMk cId="1153236904" sldId="2147483279"/>
        </pc:sldMkLst>
      </pc:sldChg>
      <pc:sldChg chg="add del">
        <pc:chgData name="Fadi Shafiq Qayed فادي شفيق القائد" userId="0a996b8d-3179-42b5-81f4-b5c8c93a4979" providerId="ADAL" clId="{64BE189A-A25D-48FD-BBD9-A78FC8D378D8}" dt="2025-03-04T08:53:29.832" v="303" actId="47"/>
        <pc:sldMkLst>
          <pc:docMk/>
          <pc:sldMk cId="3384524200" sldId="2147483280"/>
        </pc:sldMkLst>
      </pc:sldChg>
      <pc:sldChg chg="add del">
        <pc:chgData name="Fadi Shafiq Qayed فادي شفيق القائد" userId="0a996b8d-3179-42b5-81f4-b5c8c93a4979" providerId="ADAL" clId="{64BE189A-A25D-48FD-BBD9-A78FC8D378D8}" dt="2025-03-04T08:53:30.047" v="304" actId="47"/>
        <pc:sldMkLst>
          <pc:docMk/>
          <pc:sldMk cId="2887833952" sldId="2147483281"/>
        </pc:sldMkLst>
      </pc:sldChg>
      <pc:sldChg chg="add del">
        <pc:chgData name="Fadi Shafiq Qayed فادي شفيق القائد" userId="0a996b8d-3179-42b5-81f4-b5c8c93a4979" providerId="ADAL" clId="{64BE189A-A25D-48FD-BBD9-A78FC8D378D8}" dt="2025-03-04T08:53:30.257" v="305" actId="47"/>
        <pc:sldMkLst>
          <pc:docMk/>
          <pc:sldMk cId="3998332795" sldId="2147483283"/>
        </pc:sldMkLst>
      </pc:sldChg>
      <pc:sldChg chg="add del">
        <pc:chgData name="Fadi Shafiq Qayed فادي شفيق القائد" userId="0a996b8d-3179-42b5-81f4-b5c8c93a4979" providerId="ADAL" clId="{64BE189A-A25D-48FD-BBD9-A78FC8D378D8}" dt="2025-03-04T08:53:30.476" v="306" actId="47"/>
        <pc:sldMkLst>
          <pc:docMk/>
          <pc:sldMk cId="2376417135" sldId="2147483285"/>
        </pc:sldMkLst>
      </pc:sldChg>
      <pc:sldChg chg="add del">
        <pc:chgData name="Fadi Shafiq Qayed فادي شفيق القائد" userId="0a996b8d-3179-42b5-81f4-b5c8c93a4979" providerId="ADAL" clId="{64BE189A-A25D-48FD-BBD9-A78FC8D378D8}" dt="2025-03-04T08:53:30.802" v="307" actId="47"/>
        <pc:sldMkLst>
          <pc:docMk/>
          <pc:sldMk cId="1739798962" sldId="2147483286"/>
        </pc:sldMkLst>
      </pc:sldChg>
      <pc:sldChg chg="add del">
        <pc:chgData name="Fadi Shafiq Qayed فادي شفيق القائد" userId="0a996b8d-3179-42b5-81f4-b5c8c93a4979" providerId="ADAL" clId="{64BE189A-A25D-48FD-BBD9-A78FC8D378D8}" dt="2025-03-04T08:53:30.835" v="308" actId="47"/>
        <pc:sldMkLst>
          <pc:docMk/>
          <pc:sldMk cId="1075347161" sldId="2147483287"/>
        </pc:sldMkLst>
      </pc:sldChg>
      <pc:sldChg chg="add del">
        <pc:chgData name="Fadi Shafiq Qayed فادي شفيق القائد" userId="0a996b8d-3179-42b5-81f4-b5c8c93a4979" providerId="ADAL" clId="{64BE189A-A25D-48FD-BBD9-A78FC8D378D8}" dt="2025-03-04T08:53:31.047" v="309" actId="47"/>
        <pc:sldMkLst>
          <pc:docMk/>
          <pc:sldMk cId="1783204017" sldId="2147483288"/>
        </pc:sldMkLst>
      </pc:sldChg>
      <pc:sldChg chg="add del">
        <pc:chgData name="Fadi Shafiq Qayed فادي شفيق القائد" userId="0a996b8d-3179-42b5-81f4-b5c8c93a4979" providerId="ADAL" clId="{64BE189A-A25D-48FD-BBD9-A78FC8D378D8}" dt="2025-03-04T08:53:31.357" v="310" actId="47"/>
        <pc:sldMkLst>
          <pc:docMk/>
          <pc:sldMk cId="3593951019" sldId="2147483289"/>
        </pc:sldMkLst>
      </pc:sldChg>
      <pc:sldChg chg="add del">
        <pc:chgData name="Fadi Shafiq Qayed فادي شفيق القائد" userId="0a996b8d-3179-42b5-81f4-b5c8c93a4979" providerId="ADAL" clId="{64BE189A-A25D-48FD-BBD9-A78FC8D378D8}" dt="2025-03-04T08:53:32.133" v="311" actId="47"/>
        <pc:sldMkLst>
          <pc:docMk/>
          <pc:sldMk cId="4216106975" sldId="2147483290"/>
        </pc:sldMkLst>
      </pc:sldChg>
      <pc:sldChg chg="add del">
        <pc:chgData name="Fadi Shafiq Qayed فادي شفيق القائد" userId="0a996b8d-3179-42b5-81f4-b5c8c93a4979" providerId="ADAL" clId="{64BE189A-A25D-48FD-BBD9-A78FC8D378D8}" dt="2025-03-04T08:53:32.291" v="312" actId="47"/>
        <pc:sldMkLst>
          <pc:docMk/>
          <pc:sldMk cId="431428022" sldId="2147483291"/>
        </pc:sldMkLst>
      </pc:sldChg>
      <pc:sldChg chg="add del">
        <pc:chgData name="Fadi Shafiq Qayed فادي شفيق القائد" userId="0a996b8d-3179-42b5-81f4-b5c8c93a4979" providerId="ADAL" clId="{64BE189A-A25D-48FD-BBD9-A78FC8D378D8}" dt="2025-03-04T08:53:32.492" v="313" actId="47"/>
        <pc:sldMkLst>
          <pc:docMk/>
          <pc:sldMk cId="2076027015" sldId="2147483292"/>
        </pc:sldMkLst>
      </pc:sldChg>
      <pc:sldChg chg="add del">
        <pc:chgData name="Fadi Shafiq Qayed فادي شفيق القائد" userId="0a996b8d-3179-42b5-81f4-b5c8c93a4979" providerId="ADAL" clId="{64BE189A-A25D-48FD-BBD9-A78FC8D378D8}" dt="2025-03-04T08:53:32.732" v="314" actId="47"/>
        <pc:sldMkLst>
          <pc:docMk/>
          <pc:sldMk cId="3865241108" sldId="2147483293"/>
        </pc:sldMkLst>
      </pc:sldChg>
      <pc:sldChg chg="add del">
        <pc:chgData name="Fadi Shafiq Qayed فادي شفيق القائد" userId="0a996b8d-3179-42b5-81f4-b5c8c93a4979" providerId="ADAL" clId="{64BE189A-A25D-48FD-BBD9-A78FC8D378D8}" dt="2025-03-04T08:53:32.938" v="315" actId="47"/>
        <pc:sldMkLst>
          <pc:docMk/>
          <pc:sldMk cId="3332782441" sldId="2147483294"/>
        </pc:sldMkLst>
      </pc:sldChg>
      <pc:sldChg chg="add del">
        <pc:chgData name="Fadi Shafiq Qayed فادي شفيق القائد" userId="0a996b8d-3179-42b5-81f4-b5c8c93a4979" providerId="ADAL" clId="{64BE189A-A25D-48FD-BBD9-A78FC8D378D8}" dt="2025-03-04T08:53:33.199" v="316" actId="47"/>
        <pc:sldMkLst>
          <pc:docMk/>
          <pc:sldMk cId="268134863" sldId="2147483295"/>
        </pc:sldMkLst>
      </pc:sldChg>
      <pc:sldChg chg="add del">
        <pc:chgData name="Fadi Shafiq Qayed فادي شفيق القائد" userId="0a996b8d-3179-42b5-81f4-b5c8c93a4979" providerId="ADAL" clId="{64BE189A-A25D-48FD-BBD9-A78FC8D378D8}" dt="2025-03-04T08:53:33.654" v="317" actId="47"/>
        <pc:sldMkLst>
          <pc:docMk/>
          <pc:sldMk cId="1575362386" sldId="2147483296"/>
        </pc:sldMkLst>
      </pc:sldChg>
      <pc:sldChg chg="add del">
        <pc:chgData name="Fadi Shafiq Qayed فادي شفيق القائد" userId="0a996b8d-3179-42b5-81f4-b5c8c93a4979" providerId="ADAL" clId="{64BE189A-A25D-48FD-BBD9-A78FC8D378D8}" dt="2025-03-04T08:43:19.517" v="8" actId="47"/>
        <pc:sldMkLst>
          <pc:docMk/>
          <pc:sldMk cId="3799091993" sldId="2147483297"/>
        </pc:sldMkLst>
      </pc:sldChg>
      <pc:sldChg chg="add del">
        <pc:chgData name="Fadi Shafiq Qayed فادي شفيق القائد" userId="0a996b8d-3179-42b5-81f4-b5c8c93a4979" providerId="ADAL" clId="{64BE189A-A25D-48FD-BBD9-A78FC8D378D8}" dt="2025-03-04T08:43:19.517" v="8" actId="47"/>
        <pc:sldMkLst>
          <pc:docMk/>
          <pc:sldMk cId="3634158249" sldId="2147483298"/>
        </pc:sldMkLst>
      </pc:sldChg>
      <pc:sldChg chg="add del">
        <pc:chgData name="Fadi Shafiq Qayed فادي شفيق القائد" userId="0a996b8d-3179-42b5-81f4-b5c8c93a4979" providerId="ADAL" clId="{64BE189A-A25D-48FD-BBD9-A78FC8D378D8}" dt="2025-03-04T08:43:19.517" v="8" actId="47"/>
        <pc:sldMkLst>
          <pc:docMk/>
          <pc:sldMk cId="2886385970" sldId="2147483299"/>
        </pc:sldMkLst>
      </pc:sldChg>
      <pc:sldChg chg="add del">
        <pc:chgData name="Fadi Shafiq Qayed فادي شفيق القائد" userId="0a996b8d-3179-42b5-81f4-b5c8c93a4979" providerId="ADAL" clId="{64BE189A-A25D-48FD-BBD9-A78FC8D378D8}" dt="2025-03-04T08:43:19.517" v="8" actId="47"/>
        <pc:sldMkLst>
          <pc:docMk/>
          <pc:sldMk cId="3059547484" sldId="2147483300"/>
        </pc:sldMkLst>
      </pc:sldChg>
      <pc:sldChg chg="add del">
        <pc:chgData name="Fadi Shafiq Qayed فادي شفيق القائد" userId="0a996b8d-3179-42b5-81f4-b5c8c93a4979" providerId="ADAL" clId="{64BE189A-A25D-48FD-BBD9-A78FC8D378D8}" dt="2025-03-04T08:43:19.517" v="8" actId="47"/>
        <pc:sldMkLst>
          <pc:docMk/>
          <pc:sldMk cId="3191808338" sldId="2147483301"/>
        </pc:sldMkLst>
      </pc:sldChg>
      <pc:sldChg chg="add del">
        <pc:chgData name="Fadi Shafiq Qayed فادي شفيق القائد" userId="0a996b8d-3179-42b5-81f4-b5c8c93a4979" providerId="ADAL" clId="{64BE189A-A25D-48FD-BBD9-A78FC8D378D8}" dt="2025-03-04T08:43:19.517" v="8" actId="47"/>
        <pc:sldMkLst>
          <pc:docMk/>
          <pc:sldMk cId="627208780" sldId="2147483302"/>
        </pc:sldMkLst>
      </pc:sldChg>
      <pc:sldChg chg="add del">
        <pc:chgData name="Fadi Shafiq Qayed فادي شفيق القائد" userId="0a996b8d-3179-42b5-81f4-b5c8c93a4979" providerId="ADAL" clId="{64BE189A-A25D-48FD-BBD9-A78FC8D378D8}" dt="2025-03-04T08:43:19.517" v="8" actId="47"/>
        <pc:sldMkLst>
          <pc:docMk/>
          <pc:sldMk cId="970864383" sldId="2147483303"/>
        </pc:sldMkLst>
      </pc:sldChg>
      <pc:sldChg chg="add del">
        <pc:chgData name="Fadi Shafiq Qayed فادي شفيق القائد" userId="0a996b8d-3179-42b5-81f4-b5c8c93a4979" providerId="ADAL" clId="{64BE189A-A25D-48FD-BBD9-A78FC8D378D8}" dt="2025-03-04T08:43:19.517" v="8" actId="47"/>
        <pc:sldMkLst>
          <pc:docMk/>
          <pc:sldMk cId="683476263" sldId="2147483304"/>
        </pc:sldMkLst>
      </pc:sldChg>
      <pc:sldChg chg="add del">
        <pc:chgData name="Fadi Shafiq Qayed فادي شفيق القائد" userId="0a996b8d-3179-42b5-81f4-b5c8c93a4979" providerId="ADAL" clId="{64BE189A-A25D-48FD-BBD9-A78FC8D378D8}" dt="2025-03-04T08:43:19.517" v="8" actId="47"/>
        <pc:sldMkLst>
          <pc:docMk/>
          <pc:sldMk cId="3262265292" sldId="2147483306"/>
        </pc:sldMkLst>
      </pc:sldChg>
      <pc:sldChg chg="add del">
        <pc:chgData name="Fadi Shafiq Qayed فادي شفيق القائد" userId="0a996b8d-3179-42b5-81f4-b5c8c93a4979" providerId="ADAL" clId="{64BE189A-A25D-48FD-BBD9-A78FC8D378D8}" dt="2025-03-04T08:43:19.517" v="8" actId="47"/>
        <pc:sldMkLst>
          <pc:docMk/>
          <pc:sldMk cId="4219572843" sldId="2147483307"/>
        </pc:sldMkLst>
      </pc:sldChg>
      <pc:sldChg chg="add del">
        <pc:chgData name="Fadi Shafiq Qayed فادي شفيق القائد" userId="0a996b8d-3179-42b5-81f4-b5c8c93a4979" providerId="ADAL" clId="{64BE189A-A25D-48FD-BBD9-A78FC8D378D8}" dt="2025-03-04T08:43:19.517" v="8" actId="47"/>
        <pc:sldMkLst>
          <pc:docMk/>
          <pc:sldMk cId="1596519688" sldId="2147483308"/>
        </pc:sldMkLst>
      </pc:sldChg>
      <pc:sldChg chg="add del">
        <pc:chgData name="Fadi Shafiq Qayed فادي شفيق القائد" userId="0a996b8d-3179-42b5-81f4-b5c8c93a4979" providerId="ADAL" clId="{64BE189A-A25D-48FD-BBD9-A78FC8D378D8}" dt="2025-03-04T09:12:26.966" v="676" actId="47"/>
        <pc:sldMkLst>
          <pc:docMk/>
          <pc:sldMk cId="1798598682" sldId="2147483323"/>
        </pc:sldMkLst>
      </pc:sldChg>
      <pc:sldChg chg="add del">
        <pc:chgData name="Fadi Shafiq Qayed فادي شفيق القائد" userId="0a996b8d-3179-42b5-81f4-b5c8c93a4979" providerId="ADAL" clId="{64BE189A-A25D-48FD-BBD9-A78FC8D378D8}" dt="2025-03-04T09:01:09.956" v="514" actId="47"/>
        <pc:sldMkLst>
          <pc:docMk/>
          <pc:sldMk cId="1712944997" sldId="2147483324"/>
        </pc:sldMkLst>
      </pc:sldChg>
      <pc:sldChg chg="add del">
        <pc:chgData name="Fadi Shafiq Qayed فادي شفيق القائد" userId="0a996b8d-3179-42b5-81f4-b5c8c93a4979" providerId="ADAL" clId="{64BE189A-A25D-48FD-BBD9-A78FC8D378D8}" dt="2025-03-04T09:01:09.522" v="513" actId="47"/>
        <pc:sldMkLst>
          <pc:docMk/>
          <pc:sldMk cId="217615644" sldId="2147483325"/>
        </pc:sldMkLst>
      </pc:sldChg>
      <pc:sldChg chg="add del">
        <pc:chgData name="Fadi Shafiq Qayed فادي شفيق القائد" userId="0a996b8d-3179-42b5-81f4-b5c8c93a4979" providerId="ADAL" clId="{64BE189A-A25D-48FD-BBD9-A78FC8D378D8}" dt="2025-03-04T09:01:09.171" v="512" actId="47"/>
        <pc:sldMkLst>
          <pc:docMk/>
          <pc:sldMk cId="2319482427" sldId="2147483326"/>
        </pc:sldMkLst>
      </pc:sldChg>
      <pc:sldChg chg="add del">
        <pc:chgData name="Fadi Shafiq Qayed فادي شفيق القائد" userId="0a996b8d-3179-42b5-81f4-b5c8c93a4979" providerId="ADAL" clId="{64BE189A-A25D-48FD-BBD9-A78FC8D378D8}" dt="2025-03-04T09:01:08.404" v="511" actId="47"/>
        <pc:sldMkLst>
          <pc:docMk/>
          <pc:sldMk cId="2296781821" sldId="2147483327"/>
        </pc:sldMkLst>
      </pc:sldChg>
      <pc:sldChg chg="add del">
        <pc:chgData name="Fadi Shafiq Qayed فادي شفيق القائد" userId="0a996b8d-3179-42b5-81f4-b5c8c93a4979" providerId="ADAL" clId="{64BE189A-A25D-48FD-BBD9-A78FC8D378D8}" dt="2025-03-04T08:53:27.993" v="292" actId="47"/>
        <pc:sldMkLst>
          <pc:docMk/>
          <pc:sldMk cId="2850384585" sldId="2147483340"/>
        </pc:sldMkLst>
      </pc:sldChg>
      <pc:sldChg chg="add del">
        <pc:chgData name="Fadi Shafiq Qayed فادي شفيق القائد" userId="0a996b8d-3179-42b5-81f4-b5c8c93a4979" providerId="ADAL" clId="{64BE189A-A25D-48FD-BBD9-A78FC8D378D8}" dt="2025-03-04T08:53:28.550" v="295" actId="47"/>
        <pc:sldMkLst>
          <pc:docMk/>
          <pc:sldMk cId="4221033835" sldId="2147483341"/>
        </pc:sldMkLst>
      </pc:sldChg>
      <pc:sldChg chg="add del">
        <pc:chgData name="Fadi Shafiq Qayed فادي شفيق القائد" userId="0a996b8d-3179-42b5-81f4-b5c8c93a4979" providerId="ADAL" clId="{64BE189A-A25D-48FD-BBD9-A78FC8D378D8}" dt="2025-03-04T08:53:28.743" v="296" actId="47"/>
        <pc:sldMkLst>
          <pc:docMk/>
          <pc:sldMk cId="2778728071" sldId="2147483342"/>
        </pc:sldMkLst>
      </pc:sldChg>
      <pc:sldChg chg="add del">
        <pc:chgData name="Fadi Shafiq Qayed فادي شفيق القائد" userId="0a996b8d-3179-42b5-81f4-b5c8c93a4979" providerId="ADAL" clId="{64BE189A-A25D-48FD-BBD9-A78FC8D378D8}" dt="2025-03-04T08:53:28.994" v="298" actId="47"/>
        <pc:sldMkLst>
          <pc:docMk/>
          <pc:sldMk cId="2097486334" sldId="2147483344"/>
        </pc:sldMkLst>
      </pc:sldChg>
      <pc:sldChg chg="add del">
        <pc:chgData name="Fadi Shafiq Qayed فادي شفيق القائد" userId="0a996b8d-3179-42b5-81f4-b5c8c93a4979" providerId="ADAL" clId="{64BE189A-A25D-48FD-BBD9-A78FC8D378D8}" dt="2025-03-04T08:53:28.025" v="293" actId="47"/>
        <pc:sldMkLst>
          <pc:docMk/>
          <pc:sldMk cId="4134399019" sldId="2147483347"/>
        </pc:sldMkLst>
      </pc:sldChg>
      <pc:sldChg chg="add del">
        <pc:chgData name="Fadi Shafiq Qayed فادي شفيق القائد" userId="0a996b8d-3179-42b5-81f4-b5c8c93a4979" providerId="ADAL" clId="{64BE189A-A25D-48FD-BBD9-A78FC8D378D8}" dt="2025-03-04T08:53:28.298" v="294" actId="47"/>
        <pc:sldMkLst>
          <pc:docMk/>
          <pc:sldMk cId="47970752" sldId="2147483348"/>
        </pc:sldMkLst>
      </pc:sldChg>
      <pc:sldChg chg="add del">
        <pc:chgData name="Fadi Shafiq Qayed فادي شفيق القائد" userId="0a996b8d-3179-42b5-81f4-b5c8c93a4979" providerId="ADAL" clId="{64BE189A-A25D-48FD-BBD9-A78FC8D378D8}" dt="2025-03-04T08:53:28.774" v="297" actId="47"/>
        <pc:sldMkLst>
          <pc:docMk/>
          <pc:sldMk cId="435855392" sldId="2147483349"/>
        </pc:sldMkLst>
      </pc:sldChg>
      <pc:sldChg chg="add del">
        <pc:chgData name="Fadi Shafiq Qayed فادي شفيق القائد" userId="0a996b8d-3179-42b5-81f4-b5c8c93a4979" providerId="ADAL" clId="{64BE189A-A25D-48FD-BBD9-A78FC8D378D8}" dt="2025-03-04T08:53:29.224" v="299" actId="47"/>
        <pc:sldMkLst>
          <pc:docMk/>
          <pc:sldMk cId="742578349" sldId="2147483350"/>
        </pc:sldMkLst>
      </pc:sldChg>
      <pc:sldChg chg="addSp delSp modSp add del mod">
        <pc:chgData name="Fadi Shafiq Qayed فادي شفيق القائد" userId="0a996b8d-3179-42b5-81f4-b5c8c93a4979" providerId="ADAL" clId="{64BE189A-A25D-48FD-BBD9-A78FC8D378D8}" dt="2025-03-04T08:50:07.733" v="136" actId="1076"/>
        <pc:sldMkLst>
          <pc:docMk/>
          <pc:sldMk cId="2149878663" sldId="2147483351"/>
        </pc:sldMkLst>
        <pc:spChg chg="add del mod">
          <ac:chgData name="Fadi Shafiq Qayed فادي شفيق القائد" userId="0a996b8d-3179-42b5-81f4-b5c8c93a4979" providerId="ADAL" clId="{64BE189A-A25D-48FD-BBD9-A78FC8D378D8}" dt="2025-03-04T08:50:00.401" v="134" actId="207"/>
          <ac:spMkLst>
            <pc:docMk/>
            <pc:sldMk cId="2149878663" sldId="2147483351"/>
            <ac:spMk id="5" creationId="{65B37FC4-70E7-5A1B-CEBC-A9A51BF9AE5A}"/>
          </ac:spMkLst>
        </pc:spChg>
        <pc:spChg chg="add del mod">
          <ac:chgData name="Fadi Shafiq Qayed فادي شفيق القائد" userId="0a996b8d-3179-42b5-81f4-b5c8c93a4979" providerId="ADAL" clId="{64BE189A-A25D-48FD-BBD9-A78FC8D378D8}" dt="2025-03-04T08:49:07.122" v="110" actId="1076"/>
          <ac:spMkLst>
            <pc:docMk/>
            <pc:sldMk cId="2149878663" sldId="2147483351"/>
            <ac:spMk id="9" creationId="{66F1F935-312E-615A-C623-B2F8FBED9ABA}"/>
          </ac:spMkLst>
        </pc:spChg>
        <pc:spChg chg="mod">
          <ac:chgData name="Fadi Shafiq Qayed فادي شفيق القائد" userId="0a996b8d-3179-42b5-81f4-b5c8c93a4979" providerId="ADAL" clId="{64BE189A-A25D-48FD-BBD9-A78FC8D378D8}" dt="2025-03-04T08:49:07.122" v="110" actId="1076"/>
          <ac:spMkLst>
            <pc:docMk/>
            <pc:sldMk cId="2149878663" sldId="2147483351"/>
            <ac:spMk id="16" creationId="{A6F381A7-735D-703B-9741-674061E3CBA3}"/>
          </ac:spMkLst>
        </pc:spChg>
        <pc:spChg chg="add del mod">
          <ac:chgData name="Fadi Shafiq Qayed فادي شفيق القائد" userId="0a996b8d-3179-42b5-81f4-b5c8c93a4979" providerId="ADAL" clId="{64BE189A-A25D-48FD-BBD9-A78FC8D378D8}" dt="2025-03-04T08:50:00.401" v="134" actId="207"/>
          <ac:spMkLst>
            <pc:docMk/>
            <pc:sldMk cId="2149878663" sldId="2147483351"/>
            <ac:spMk id="18" creationId="{9651924C-CB3E-FA96-C086-F69CCAD1F1EB}"/>
          </ac:spMkLst>
        </pc:spChg>
        <pc:spChg chg="add del mod">
          <ac:chgData name="Fadi Shafiq Qayed فادي شفيق القائد" userId="0a996b8d-3179-42b5-81f4-b5c8c93a4979" providerId="ADAL" clId="{64BE189A-A25D-48FD-BBD9-A78FC8D378D8}" dt="2025-03-04T08:49:07.122" v="110" actId="1076"/>
          <ac:spMkLst>
            <pc:docMk/>
            <pc:sldMk cId="2149878663" sldId="2147483351"/>
            <ac:spMk id="20" creationId="{582576DF-DD50-FF60-5F49-2CE54072CE17}"/>
          </ac:spMkLst>
        </pc:spChg>
        <pc:spChg chg="mod">
          <ac:chgData name="Fadi Shafiq Qayed فادي شفيق القائد" userId="0a996b8d-3179-42b5-81f4-b5c8c93a4979" providerId="ADAL" clId="{64BE189A-A25D-48FD-BBD9-A78FC8D378D8}" dt="2025-03-04T08:49:07.122" v="110" actId="1076"/>
          <ac:spMkLst>
            <pc:docMk/>
            <pc:sldMk cId="2149878663" sldId="2147483351"/>
            <ac:spMk id="22" creationId="{00C06DD4-66E2-578A-F2DE-41082AEBA30F}"/>
          </ac:spMkLst>
        </pc:spChg>
        <pc:spChg chg="add del mod">
          <ac:chgData name="Fadi Shafiq Qayed فادي شفيق القائد" userId="0a996b8d-3179-42b5-81f4-b5c8c93a4979" providerId="ADAL" clId="{64BE189A-A25D-48FD-BBD9-A78FC8D378D8}" dt="2025-03-04T08:50:00.401" v="134" actId="207"/>
          <ac:spMkLst>
            <pc:docMk/>
            <pc:sldMk cId="2149878663" sldId="2147483351"/>
            <ac:spMk id="25" creationId="{B733BD1C-C62C-6B44-D6D8-1EF8AE3686B6}"/>
          </ac:spMkLst>
        </pc:spChg>
        <pc:spChg chg="add del mod">
          <ac:chgData name="Fadi Shafiq Qayed فادي شفيق القائد" userId="0a996b8d-3179-42b5-81f4-b5c8c93a4979" providerId="ADAL" clId="{64BE189A-A25D-48FD-BBD9-A78FC8D378D8}" dt="2025-03-04T08:48:38.509" v="92" actId="1076"/>
          <ac:spMkLst>
            <pc:docMk/>
            <pc:sldMk cId="2149878663" sldId="2147483351"/>
            <ac:spMk id="27" creationId="{FDBF06EE-81B0-EDE9-3029-58814042A888}"/>
          </ac:spMkLst>
        </pc:spChg>
        <pc:spChg chg="mod">
          <ac:chgData name="Fadi Shafiq Qayed فادي شفيق القائد" userId="0a996b8d-3179-42b5-81f4-b5c8c93a4979" providerId="ADAL" clId="{64BE189A-A25D-48FD-BBD9-A78FC8D378D8}" dt="2025-03-04T08:48:38.509" v="92" actId="1076"/>
          <ac:spMkLst>
            <pc:docMk/>
            <pc:sldMk cId="2149878663" sldId="2147483351"/>
            <ac:spMk id="30" creationId="{5A739370-091F-2157-C34C-22DF10243DDE}"/>
          </ac:spMkLst>
        </pc:spChg>
        <pc:spChg chg="mod">
          <ac:chgData name="Fadi Shafiq Qayed فادي شفيق القائد" userId="0a996b8d-3179-42b5-81f4-b5c8c93a4979" providerId="ADAL" clId="{64BE189A-A25D-48FD-BBD9-A78FC8D378D8}" dt="2025-03-04T08:49:17.396" v="122"/>
          <ac:spMkLst>
            <pc:docMk/>
            <pc:sldMk cId="2149878663" sldId="2147483351"/>
            <ac:spMk id="31" creationId="{42485E1A-FB4D-C1C4-830E-7C866E5B58AD}"/>
          </ac:spMkLst>
        </pc:spChg>
        <pc:spChg chg="add del mod">
          <ac:chgData name="Fadi Shafiq Qayed فادي شفيق القائد" userId="0a996b8d-3179-42b5-81f4-b5c8c93a4979" providerId="ADAL" clId="{64BE189A-A25D-48FD-BBD9-A78FC8D378D8}" dt="2025-03-04T08:50:00.401" v="134" actId="207"/>
          <ac:spMkLst>
            <pc:docMk/>
            <pc:sldMk cId="2149878663" sldId="2147483351"/>
            <ac:spMk id="33" creationId="{8636FC47-CA6C-32F2-EE98-D492679931C1}"/>
          </ac:spMkLst>
        </pc:spChg>
        <pc:spChg chg="add del mod">
          <ac:chgData name="Fadi Shafiq Qayed فادي شفيق القائد" userId="0a996b8d-3179-42b5-81f4-b5c8c93a4979" providerId="ADAL" clId="{64BE189A-A25D-48FD-BBD9-A78FC8D378D8}" dt="2025-03-04T08:49:07.122" v="110" actId="1076"/>
          <ac:spMkLst>
            <pc:docMk/>
            <pc:sldMk cId="2149878663" sldId="2147483351"/>
            <ac:spMk id="35" creationId="{01D8797E-0ABC-31D4-B4C0-87079B4C4FA1}"/>
          </ac:spMkLst>
        </pc:spChg>
        <pc:spChg chg="mod">
          <ac:chgData name="Fadi Shafiq Qayed فادي شفيق القائد" userId="0a996b8d-3179-42b5-81f4-b5c8c93a4979" providerId="ADAL" clId="{64BE189A-A25D-48FD-BBD9-A78FC8D378D8}" dt="2025-03-04T08:48:38.509" v="92" actId="1076"/>
          <ac:spMkLst>
            <pc:docMk/>
            <pc:sldMk cId="2149878663" sldId="2147483351"/>
            <ac:spMk id="38" creationId="{17090867-9C80-839B-D99B-A0AEE203DA25}"/>
          </ac:spMkLst>
        </pc:spChg>
        <pc:spChg chg="add del mod">
          <ac:chgData name="Fadi Shafiq Qayed فادي شفيق القائد" userId="0a996b8d-3179-42b5-81f4-b5c8c93a4979" providerId="ADAL" clId="{64BE189A-A25D-48FD-BBD9-A78FC8D378D8}" dt="2025-03-04T08:50:00.401" v="134" actId="207"/>
          <ac:spMkLst>
            <pc:docMk/>
            <pc:sldMk cId="2149878663" sldId="2147483351"/>
            <ac:spMk id="40" creationId="{B1A0EA1B-C137-F6F6-9D99-652B3867965C}"/>
          </ac:spMkLst>
        </pc:spChg>
        <pc:spChg chg="add del mod">
          <ac:chgData name="Fadi Shafiq Qayed فادي شفيق القائد" userId="0a996b8d-3179-42b5-81f4-b5c8c93a4979" providerId="ADAL" clId="{64BE189A-A25D-48FD-BBD9-A78FC8D378D8}" dt="2025-03-04T08:49:07.122" v="110" actId="1076"/>
          <ac:spMkLst>
            <pc:docMk/>
            <pc:sldMk cId="2149878663" sldId="2147483351"/>
            <ac:spMk id="42" creationId="{EA527156-39B1-9767-0A76-A1498E5922AD}"/>
          </ac:spMkLst>
        </pc:spChg>
        <pc:spChg chg="mod">
          <ac:chgData name="Fadi Shafiq Qayed فادي شفيق القائد" userId="0a996b8d-3179-42b5-81f4-b5c8c93a4979" providerId="ADAL" clId="{64BE189A-A25D-48FD-BBD9-A78FC8D378D8}" dt="2025-03-04T08:48:38.509" v="92" actId="1076"/>
          <ac:spMkLst>
            <pc:docMk/>
            <pc:sldMk cId="2149878663" sldId="2147483351"/>
            <ac:spMk id="45" creationId="{4B24A7D0-193C-4189-9C5F-281276F36FFF}"/>
          </ac:spMkLst>
        </pc:spChg>
        <pc:spChg chg="add mod">
          <ac:chgData name="Fadi Shafiq Qayed فادي شفيق القائد" userId="0a996b8d-3179-42b5-81f4-b5c8c93a4979" providerId="ADAL" clId="{64BE189A-A25D-48FD-BBD9-A78FC8D378D8}" dt="2025-03-04T08:50:07.733" v="136" actId="1076"/>
          <ac:spMkLst>
            <pc:docMk/>
            <pc:sldMk cId="2149878663" sldId="2147483351"/>
            <ac:spMk id="101" creationId="{6C3D9A0C-5061-0C49-02E9-40582A55311B}"/>
          </ac:spMkLst>
        </pc:spChg>
        <pc:spChg chg="add mod">
          <ac:chgData name="Fadi Shafiq Qayed فادي شفيق القائد" userId="0a996b8d-3179-42b5-81f4-b5c8c93a4979" providerId="ADAL" clId="{64BE189A-A25D-48FD-BBD9-A78FC8D378D8}" dt="2025-03-04T08:49:56.678" v="133" actId="207"/>
          <ac:spMkLst>
            <pc:docMk/>
            <pc:sldMk cId="2149878663" sldId="2147483351"/>
            <ac:spMk id="102" creationId="{63CC8FE9-F279-62C5-6381-AD26D5F58D45}"/>
          </ac:spMkLst>
        </pc:spChg>
        <pc:spChg chg="mod">
          <ac:chgData name="Fadi Shafiq Qayed فادي شفيق القائد" userId="0a996b8d-3179-42b5-81f4-b5c8c93a4979" providerId="ADAL" clId="{64BE189A-A25D-48FD-BBD9-A78FC8D378D8}" dt="2025-03-04T08:48:50.055" v="96" actId="1076"/>
          <ac:spMkLst>
            <pc:docMk/>
            <pc:sldMk cId="2149878663" sldId="2147483351"/>
            <ac:spMk id="106" creationId="{453A82D7-B1CC-9DFE-B9E2-EBB7642D1F6B}"/>
          </ac:spMkLst>
        </pc:spChg>
        <pc:spChg chg="mod">
          <ac:chgData name="Fadi Shafiq Qayed فادي شفيق القائد" userId="0a996b8d-3179-42b5-81f4-b5c8c93a4979" providerId="ADAL" clId="{64BE189A-A25D-48FD-BBD9-A78FC8D378D8}" dt="2025-03-04T08:49:07.122" v="110" actId="1076"/>
          <ac:spMkLst>
            <pc:docMk/>
            <pc:sldMk cId="2149878663" sldId="2147483351"/>
            <ac:spMk id="107" creationId="{AB77AF5C-3218-ABB7-AEDA-F68BCB3C7B17}"/>
          </ac:spMkLst>
        </pc:spChg>
        <pc:spChg chg="add mod">
          <ac:chgData name="Fadi Shafiq Qayed فادي شفيق القائد" userId="0a996b8d-3179-42b5-81f4-b5c8c93a4979" providerId="ADAL" clId="{64BE189A-A25D-48FD-BBD9-A78FC8D378D8}" dt="2025-03-04T08:49:56.678" v="133" actId="207"/>
          <ac:spMkLst>
            <pc:docMk/>
            <pc:sldMk cId="2149878663" sldId="2147483351"/>
            <ac:spMk id="108" creationId="{E17D640A-DD25-2AF4-30E3-418E1962BD82}"/>
          </ac:spMkLst>
        </pc:spChg>
        <pc:spChg chg="mod">
          <ac:chgData name="Fadi Shafiq Qayed فادي شفيق القائد" userId="0a996b8d-3179-42b5-81f4-b5c8c93a4979" providerId="ADAL" clId="{64BE189A-A25D-48FD-BBD9-A78FC8D378D8}" dt="2025-03-04T08:48:50.055" v="96" actId="1076"/>
          <ac:spMkLst>
            <pc:docMk/>
            <pc:sldMk cId="2149878663" sldId="2147483351"/>
            <ac:spMk id="110" creationId="{9D58F3C4-867E-E11D-2FDC-C873499259AC}"/>
          </ac:spMkLst>
        </pc:spChg>
        <pc:spChg chg="mod">
          <ac:chgData name="Fadi Shafiq Qayed فادي شفيق القائد" userId="0a996b8d-3179-42b5-81f4-b5c8c93a4979" providerId="ADAL" clId="{64BE189A-A25D-48FD-BBD9-A78FC8D378D8}" dt="2025-03-04T08:48:50.055" v="96" actId="1076"/>
          <ac:spMkLst>
            <pc:docMk/>
            <pc:sldMk cId="2149878663" sldId="2147483351"/>
            <ac:spMk id="111" creationId="{F5CF0FD4-F65F-8208-8210-A7BCF55601A9}"/>
          </ac:spMkLst>
        </pc:spChg>
        <pc:spChg chg="mod">
          <ac:chgData name="Fadi Shafiq Qayed فادي شفيق القائد" userId="0a996b8d-3179-42b5-81f4-b5c8c93a4979" providerId="ADAL" clId="{64BE189A-A25D-48FD-BBD9-A78FC8D378D8}" dt="2025-03-04T08:48:50.055" v="96" actId="1076"/>
          <ac:spMkLst>
            <pc:docMk/>
            <pc:sldMk cId="2149878663" sldId="2147483351"/>
            <ac:spMk id="112" creationId="{4D1FD48C-EE48-6C25-99AC-B0C8BDF96A7E}"/>
          </ac:spMkLst>
        </pc:spChg>
        <pc:spChg chg="mod">
          <ac:chgData name="Fadi Shafiq Qayed فادي شفيق القائد" userId="0a996b8d-3179-42b5-81f4-b5c8c93a4979" providerId="ADAL" clId="{64BE189A-A25D-48FD-BBD9-A78FC8D378D8}" dt="2025-03-04T08:49:56.678" v="133" actId="207"/>
          <ac:spMkLst>
            <pc:docMk/>
            <pc:sldMk cId="2149878663" sldId="2147483351"/>
            <ac:spMk id="113" creationId="{4AB83B3A-4413-B791-218B-A3F6E50FC824}"/>
          </ac:spMkLst>
        </pc:spChg>
        <pc:spChg chg="add mod">
          <ac:chgData name="Fadi Shafiq Qayed فادي شفيق القائد" userId="0a996b8d-3179-42b5-81f4-b5c8c93a4979" providerId="ADAL" clId="{64BE189A-A25D-48FD-BBD9-A78FC8D378D8}" dt="2025-03-04T08:49:56.678" v="133" actId="207"/>
          <ac:spMkLst>
            <pc:docMk/>
            <pc:sldMk cId="2149878663" sldId="2147483351"/>
            <ac:spMk id="115" creationId="{797E36DD-8ED4-C792-7A69-82607C6E0167}"/>
          </ac:spMkLst>
        </pc:spChg>
        <pc:spChg chg="add mod">
          <ac:chgData name="Fadi Shafiq Qayed فادي شفيق القائد" userId="0a996b8d-3179-42b5-81f4-b5c8c93a4979" providerId="ADAL" clId="{64BE189A-A25D-48FD-BBD9-A78FC8D378D8}" dt="2025-03-04T08:49:56.678" v="133" actId="207"/>
          <ac:spMkLst>
            <pc:docMk/>
            <pc:sldMk cId="2149878663" sldId="2147483351"/>
            <ac:spMk id="117" creationId="{A8B64D3A-5545-F2AF-65F5-5A8284A38E14}"/>
          </ac:spMkLst>
        </pc:spChg>
        <pc:spChg chg="mod">
          <ac:chgData name="Fadi Shafiq Qayed فادي شفيق القائد" userId="0a996b8d-3179-42b5-81f4-b5c8c93a4979" providerId="ADAL" clId="{64BE189A-A25D-48FD-BBD9-A78FC8D378D8}" dt="2025-03-04T08:48:50.055" v="96" actId="1076"/>
          <ac:spMkLst>
            <pc:docMk/>
            <pc:sldMk cId="2149878663" sldId="2147483351"/>
            <ac:spMk id="121" creationId="{B699E128-8B42-2002-D562-B7D57826E5D9}"/>
          </ac:spMkLst>
        </pc:spChg>
        <pc:spChg chg="add mod">
          <ac:chgData name="Fadi Shafiq Qayed فادي شفيق القائد" userId="0a996b8d-3179-42b5-81f4-b5c8c93a4979" providerId="ADAL" clId="{64BE189A-A25D-48FD-BBD9-A78FC8D378D8}" dt="2025-03-04T08:50:07.733" v="136" actId="1076"/>
          <ac:spMkLst>
            <pc:docMk/>
            <pc:sldMk cId="2149878663" sldId="2147483351"/>
            <ac:spMk id="123" creationId="{B117F2E7-ABC5-C9BB-4086-EF166E7B176B}"/>
          </ac:spMkLst>
        </pc:spChg>
        <pc:spChg chg="add mod">
          <ac:chgData name="Fadi Shafiq Qayed فادي شفيق القائد" userId="0a996b8d-3179-42b5-81f4-b5c8c93a4979" providerId="ADAL" clId="{64BE189A-A25D-48FD-BBD9-A78FC8D378D8}" dt="2025-03-04T08:50:07.733" v="136" actId="1076"/>
          <ac:spMkLst>
            <pc:docMk/>
            <pc:sldMk cId="2149878663" sldId="2147483351"/>
            <ac:spMk id="124" creationId="{8F036095-40AB-8303-F131-4F5CFAFAE21D}"/>
          </ac:spMkLst>
        </pc:spChg>
        <pc:grpChg chg="mod">
          <ac:chgData name="Fadi Shafiq Qayed فادي شفيق القائد" userId="0a996b8d-3179-42b5-81f4-b5c8c93a4979" providerId="ADAL" clId="{64BE189A-A25D-48FD-BBD9-A78FC8D378D8}" dt="2025-03-04T08:48:54.120" v="99" actId="404"/>
          <ac:grpSpMkLst>
            <pc:docMk/>
            <pc:sldMk cId="2149878663" sldId="2147483351"/>
            <ac:grpSpMk id="103" creationId="{8450118B-E9FF-447A-6D87-AAEA8D7E4706}"/>
          </ac:grpSpMkLst>
        </pc:grpChg>
        <pc:grpChg chg="mod">
          <ac:chgData name="Fadi Shafiq Qayed فادي شفيق القائد" userId="0a996b8d-3179-42b5-81f4-b5c8c93a4979" providerId="ADAL" clId="{64BE189A-A25D-48FD-BBD9-A78FC8D378D8}" dt="2025-03-04T08:48:54.120" v="99" actId="404"/>
          <ac:grpSpMkLst>
            <pc:docMk/>
            <pc:sldMk cId="2149878663" sldId="2147483351"/>
            <ac:grpSpMk id="109" creationId="{4FD80BDC-6A10-F9C1-96B6-B8D62695F6BB}"/>
          </ac:grpSpMkLst>
        </pc:grpChg>
        <pc:grpChg chg="mod">
          <ac:chgData name="Fadi Shafiq Qayed فادي شفيق القائد" userId="0a996b8d-3179-42b5-81f4-b5c8c93a4979" providerId="ADAL" clId="{64BE189A-A25D-48FD-BBD9-A78FC8D378D8}" dt="2025-03-04T08:48:54.120" v="99" actId="404"/>
          <ac:grpSpMkLst>
            <pc:docMk/>
            <pc:sldMk cId="2149878663" sldId="2147483351"/>
            <ac:grpSpMk id="118" creationId="{2CE8EDA0-F5DD-3CEA-B4EA-EEB431B8629C}"/>
          </ac:grpSpMkLst>
        </pc:grpChg>
        <pc:picChg chg="mod">
          <ac:chgData name="Fadi Shafiq Qayed فادي شفيق القائد" userId="0a996b8d-3179-42b5-81f4-b5c8c93a4979" providerId="ADAL" clId="{64BE189A-A25D-48FD-BBD9-A78FC8D378D8}" dt="2025-03-04T08:48:54.120" v="99" actId="404"/>
          <ac:picMkLst>
            <pc:docMk/>
            <pc:sldMk cId="2149878663" sldId="2147483351"/>
            <ac:picMk id="114" creationId="{72CB7CBE-09FC-9285-A2CB-50B9079FFD5F}"/>
          </ac:picMkLst>
        </pc:picChg>
        <pc:picChg chg="mod">
          <ac:chgData name="Fadi Shafiq Qayed فادي شفيق القائد" userId="0a996b8d-3179-42b5-81f4-b5c8c93a4979" providerId="ADAL" clId="{64BE189A-A25D-48FD-BBD9-A78FC8D378D8}" dt="2025-03-04T08:48:54.120" v="99" actId="404"/>
          <ac:picMkLst>
            <pc:docMk/>
            <pc:sldMk cId="2149878663" sldId="2147483351"/>
            <ac:picMk id="116" creationId="{9F08F5D3-2A2C-EEBC-295E-8DDBB76F02C2}"/>
          </ac:picMkLst>
        </pc:picChg>
        <pc:picChg chg="add mod">
          <ac:chgData name="Fadi Shafiq Qayed فادي شفيق القائد" userId="0a996b8d-3179-42b5-81f4-b5c8c93a4979" providerId="ADAL" clId="{64BE189A-A25D-48FD-BBD9-A78FC8D378D8}" dt="2025-03-04T08:49:24.672" v="124" actId="1076"/>
          <ac:picMkLst>
            <pc:docMk/>
            <pc:sldMk cId="2149878663" sldId="2147483351"/>
            <ac:picMk id="125" creationId="{F07A07E1-81EE-BFC4-7CFB-9723507CE837}"/>
          </ac:picMkLst>
        </pc:picChg>
        <pc:picChg chg="add mod">
          <ac:chgData name="Fadi Shafiq Qayed فادي شفيق القائد" userId="0a996b8d-3179-42b5-81f4-b5c8c93a4979" providerId="ADAL" clId="{64BE189A-A25D-48FD-BBD9-A78FC8D378D8}" dt="2025-03-04T08:49:24.672" v="124" actId="1076"/>
          <ac:picMkLst>
            <pc:docMk/>
            <pc:sldMk cId="2149878663" sldId="2147483351"/>
            <ac:picMk id="126" creationId="{4F8E4D7C-66A1-3914-6376-FF3D0770E311}"/>
          </ac:picMkLst>
        </pc:picChg>
        <pc:picChg chg="add mod">
          <ac:chgData name="Fadi Shafiq Qayed فادي شفيق القائد" userId="0a996b8d-3179-42b5-81f4-b5c8c93a4979" providerId="ADAL" clId="{64BE189A-A25D-48FD-BBD9-A78FC8D378D8}" dt="2025-03-04T08:49:24.672" v="124" actId="1076"/>
          <ac:picMkLst>
            <pc:docMk/>
            <pc:sldMk cId="2149878663" sldId="2147483351"/>
            <ac:picMk id="127" creationId="{033F1AF9-CDE9-B9CF-AAF1-9B09538553C8}"/>
          </ac:picMkLst>
        </pc:picChg>
        <pc:picChg chg="add mod">
          <ac:chgData name="Fadi Shafiq Qayed فادي شفيق القائد" userId="0a996b8d-3179-42b5-81f4-b5c8c93a4979" providerId="ADAL" clId="{64BE189A-A25D-48FD-BBD9-A78FC8D378D8}" dt="2025-03-04T08:49:24.672" v="124" actId="1076"/>
          <ac:picMkLst>
            <pc:docMk/>
            <pc:sldMk cId="2149878663" sldId="2147483351"/>
            <ac:picMk id="128" creationId="{5647AA41-2DF8-12F8-914E-A3D1473A07F7}"/>
          </ac:picMkLst>
        </pc:picChg>
        <pc:picChg chg="add mod">
          <ac:chgData name="Fadi Shafiq Qayed فادي شفيق القائد" userId="0a996b8d-3179-42b5-81f4-b5c8c93a4979" providerId="ADAL" clId="{64BE189A-A25D-48FD-BBD9-A78FC8D378D8}" dt="2025-03-04T08:49:24.672" v="124" actId="1076"/>
          <ac:picMkLst>
            <pc:docMk/>
            <pc:sldMk cId="2149878663" sldId="2147483351"/>
            <ac:picMk id="129" creationId="{49A58B22-DAC3-F54D-98D7-68623D43CD92}"/>
          </ac:picMkLst>
        </pc:picChg>
        <pc:picChg chg="add mod">
          <ac:chgData name="Fadi Shafiq Qayed فادي شفيق القائد" userId="0a996b8d-3179-42b5-81f4-b5c8c93a4979" providerId="ADAL" clId="{64BE189A-A25D-48FD-BBD9-A78FC8D378D8}" dt="2025-03-04T08:49:24.672" v="124" actId="1076"/>
          <ac:picMkLst>
            <pc:docMk/>
            <pc:sldMk cId="2149878663" sldId="2147483351"/>
            <ac:picMk id="130" creationId="{AA810FA9-DA84-A51C-83B9-A4713A5D404C}"/>
          </ac:picMkLst>
        </pc:picChg>
        <pc:picChg chg="add mod">
          <ac:chgData name="Fadi Shafiq Qayed فادي شفيق القائد" userId="0a996b8d-3179-42b5-81f4-b5c8c93a4979" providerId="ADAL" clId="{64BE189A-A25D-48FD-BBD9-A78FC8D378D8}" dt="2025-03-04T08:49:24.672" v="124" actId="1076"/>
          <ac:picMkLst>
            <pc:docMk/>
            <pc:sldMk cId="2149878663" sldId="2147483351"/>
            <ac:picMk id="131" creationId="{7C434188-5502-C365-C020-7E5AB930450C}"/>
          </ac:picMkLst>
        </pc:picChg>
        <pc:cxnChg chg="add mod">
          <ac:chgData name="Fadi Shafiq Qayed فادي شفيق القائد" userId="0a996b8d-3179-42b5-81f4-b5c8c93a4979" providerId="ADAL" clId="{64BE189A-A25D-48FD-BBD9-A78FC8D378D8}" dt="2025-03-04T08:49:49.004" v="132" actId="208"/>
          <ac:cxnSpMkLst>
            <pc:docMk/>
            <pc:sldMk cId="2149878663" sldId="2147483351"/>
            <ac:cxnSpMk id="132" creationId="{52C9AB42-76DD-763F-9712-9DC8D791142D}"/>
          </ac:cxnSpMkLst>
        </pc:cxnChg>
        <pc:cxnChg chg="add mod">
          <ac:chgData name="Fadi Shafiq Qayed فادي شفيق القائد" userId="0a996b8d-3179-42b5-81f4-b5c8c93a4979" providerId="ADAL" clId="{64BE189A-A25D-48FD-BBD9-A78FC8D378D8}" dt="2025-03-04T08:49:49.004" v="132" actId="208"/>
          <ac:cxnSpMkLst>
            <pc:docMk/>
            <pc:sldMk cId="2149878663" sldId="2147483351"/>
            <ac:cxnSpMk id="135" creationId="{2EC5ACC3-A44D-75AF-FE75-F7BD79261D7E}"/>
          </ac:cxnSpMkLst>
        </pc:cxnChg>
      </pc:sldChg>
      <pc:sldChg chg="addSp delSp modSp add del mod">
        <pc:chgData name="Fadi Shafiq Qayed فادي شفيق القائد" userId="0a996b8d-3179-42b5-81f4-b5c8c93a4979" providerId="ADAL" clId="{64BE189A-A25D-48FD-BBD9-A78FC8D378D8}" dt="2025-03-04T09:05:39.230" v="617" actId="47"/>
        <pc:sldMkLst>
          <pc:docMk/>
          <pc:sldMk cId="277149214" sldId="2147483352"/>
        </pc:sldMkLst>
      </pc:sldChg>
      <pc:sldChg chg="modSp add del mod">
        <pc:chgData name="Fadi Shafiq Qayed فادي شفيق القائد" userId="0a996b8d-3179-42b5-81f4-b5c8c93a4979" providerId="ADAL" clId="{64BE189A-A25D-48FD-BBD9-A78FC8D378D8}" dt="2025-03-04T09:05:51.964" v="620" actId="47"/>
        <pc:sldMkLst>
          <pc:docMk/>
          <pc:sldMk cId="3858153427" sldId="2147483353"/>
        </pc:sldMkLst>
      </pc:sldChg>
      <pc:sldChg chg="addSp delSp modSp add mod">
        <pc:chgData name="Fadi Shafiq Qayed فادي شفيق القائد" userId="0a996b8d-3179-42b5-81f4-b5c8c93a4979" providerId="ADAL" clId="{64BE189A-A25D-48FD-BBD9-A78FC8D378D8}" dt="2025-03-10T05:43:58.424" v="766"/>
        <pc:sldMkLst>
          <pc:docMk/>
          <pc:sldMk cId="1948385985" sldId="2147483354"/>
        </pc:sldMkLst>
        <pc:spChg chg="del mod">
          <ac:chgData name="Fadi Shafiq Qayed فادي شفيق القائد" userId="0a996b8d-3179-42b5-81f4-b5c8c93a4979" providerId="ADAL" clId="{64BE189A-A25D-48FD-BBD9-A78FC8D378D8}" dt="2025-03-10T05:43:58.063" v="765" actId="478"/>
          <ac:spMkLst>
            <pc:docMk/>
            <pc:sldMk cId="1948385985" sldId="2147483354"/>
            <ac:spMk id="5" creationId="{7B748AE7-2A8A-F30D-0F75-67565D996579}"/>
          </ac:spMkLst>
        </pc:spChg>
        <pc:spChg chg="add mod">
          <ac:chgData name="Fadi Shafiq Qayed فادي شفيق القائد" userId="0a996b8d-3179-42b5-81f4-b5c8c93a4979" providerId="ADAL" clId="{64BE189A-A25D-48FD-BBD9-A78FC8D378D8}" dt="2025-03-10T05:43:58.424" v="766"/>
          <ac:spMkLst>
            <pc:docMk/>
            <pc:sldMk cId="1948385985" sldId="2147483354"/>
            <ac:spMk id="10" creationId="{6AA23883-C36F-60BA-8129-E71949567828}"/>
          </ac:spMkLst>
        </pc:spChg>
        <pc:spChg chg="add mod">
          <ac:chgData name="Fadi Shafiq Qayed فادي شفيق القائد" userId="0a996b8d-3179-42b5-81f4-b5c8c93a4979" providerId="ADAL" clId="{64BE189A-A25D-48FD-BBD9-A78FC8D378D8}" dt="2025-03-10T05:43:58.424" v="766"/>
          <ac:spMkLst>
            <pc:docMk/>
            <pc:sldMk cId="1948385985" sldId="2147483354"/>
            <ac:spMk id="13" creationId="{D1C0A5C7-01B9-9102-A672-202C1A33B8BE}"/>
          </ac:spMkLst>
        </pc:spChg>
        <pc:spChg chg="add del mod">
          <ac:chgData name="Fadi Shafiq Qayed فادي شفيق القائد" userId="0a996b8d-3179-42b5-81f4-b5c8c93a4979" providerId="ADAL" clId="{64BE189A-A25D-48FD-BBD9-A78FC8D378D8}" dt="2025-03-10T05:43:58.063" v="765" actId="478"/>
          <ac:spMkLst>
            <pc:docMk/>
            <pc:sldMk cId="1948385985" sldId="2147483354"/>
            <ac:spMk id="15" creationId="{5372F605-46F5-3F4F-8C5A-B13AB442C408}"/>
          </ac:spMkLst>
        </pc:spChg>
        <pc:spChg chg="add del mod">
          <ac:chgData name="Fadi Shafiq Qayed فادي شفيق القائد" userId="0a996b8d-3179-42b5-81f4-b5c8c93a4979" providerId="ADAL" clId="{64BE189A-A25D-48FD-BBD9-A78FC8D378D8}" dt="2025-03-10T05:43:58.063" v="765" actId="478"/>
          <ac:spMkLst>
            <pc:docMk/>
            <pc:sldMk cId="1948385985" sldId="2147483354"/>
            <ac:spMk id="16" creationId="{88F59FA5-E230-B961-FA99-F74DC5ED20C1}"/>
          </ac:spMkLst>
        </pc:spChg>
        <pc:spChg chg="add mod">
          <ac:chgData name="Fadi Shafiq Qayed فادي شفيق القائد" userId="0a996b8d-3179-42b5-81f4-b5c8c93a4979" providerId="ADAL" clId="{64BE189A-A25D-48FD-BBD9-A78FC8D378D8}" dt="2025-03-10T05:43:58.424" v="766"/>
          <ac:spMkLst>
            <pc:docMk/>
            <pc:sldMk cId="1948385985" sldId="2147483354"/>
            <ac:spMk id="17" creationId="{9063F8B8-B773-560D-738F-F7A2B9708EC8}"/>
          </ac:spMkLst>
        </pc:spChg>
        <pc:picChg chg="mod">
          <ac:chgData name="Fadi Shafiq Qayed فادي شفيق القائد" userId="0a996b8d-3179-42b5-81f4-b5c8c93a4979" providerId="ADAL" clId="{64BE189A-A25D-48FD-BBD9-A78FC8D378D8}" dt="2025-03-04T09:05:44.773" v="618" actId="1076"/>
          <ac:picMkLst>
            <pc:docMk/>
            <pc:sldMk cId="1948385985" sldId="2147483354"/>
            <ac:picMk id="3" creationId="{DB5B1B5F-3441-FACC-E7CF-8E201F33C384}"/>
          </ac:picMkLst>
        </pc:picChg>
        <pc:picChg chg="add mod">
          <ac:chgData name="Fadi Shafiq Qayed فادي شفيق القائد" userId="0a996b8d-3179-42b5-81f4-b5c8c93a4979" providerId="ADAL" clId="{64BE189A-A25D-48FD-BBD9-A78FC8D378D8}" dt="2025-03-04T09:25:13.271" v="694"/>
          <ac:picMkLst>
            <pc:docMk/>
            <pc:sldMk cId="1948385985" sldId="2147483354"/>
            <ac:picMk id="6" creationId="{0399918B-AE39-043A-59D8-05539C6F1298}"/>
          </ac:picMkLst>
        </pc:picChg>
      </pc:sldChg>
      <pc:sldChg chg="addSp delSp modSp add mod">
        <pc:chgData name="Fadi Shafiq Qayed فادي شفيق القائد" userId="0a996b8d-3179-42b5-81f4-b5c8c93a4979" providerId="ADAL" clId="{64BE189A-A25D-48FD-BBD9-A78FC8D378D8}" dt="2025-03-10T05:44:05.932" v="768"/>
        <pc:sldMkLst>
          <pc:docMk/>
          <pc:sldMk cId="3914390014" sldId="2147483355"/>
        </pc:sldMkLst>
        <pc:spChg chg="del mod">
          <ac:chgData name="Fadi Shafiq Qayed فادي شفيق القائد" userId="0a996b8d-3179-42b5-81f4-b5c8c93a4979" providerId="ADAL" clId="{64BE189A-A25D-48FD-BBD9-A78FC8D378D8}" dt="2025-03-10T05:44:05.735" v="767" actId="478"/>
          <ac:spMkLst>
            <pc:docMk/>
            <pc:sldMk cId="3914390014" sldId="2147483355"/>
            <ac:spMk id="5" creationId="{5663B34D-ED5E-BC65-1843-0575B8CF11AD}"/>
          </ac:spMkLst>
        </pc:spChg>
        <pc:spChg chg="add del mod">
          <ac:chgData name="Fadi Shafiq Qayed فادي شفيق القائد" userId="0a996b8d-3179-42b5-81f4-b5c8c93a4979" providerId="ADAL" clId="{64BE189A-A25D-48FD-BBD9-A78FC8D378D8}" dt="2025-03-10T05:44:05.735" v="767" actId="478"/>
          <ac:spMkLst>
            <pc:docMk/>
            <pc:sldMk cId="3914390014" sldId="2147483355"/>
            <ac:spMk id="6" creationId="{12D19D23-1443-8009-3C8D-E54B4304277B}"/>
          </ac:spMkLst>
        </pc:spChg>
        <pc:spChg chg="add mod">
          <ac:chgData name="Fadi Shafiq Qayed فادي شفيق القائد" userId="0a996b8d-3179-42b5-81f4-b5c8c93a4979" providerId="ADAL" clId="{64BE189A-A25D-48FD-BBD9-A78FC8D378D8}" dt="2025-03-10T05:44:05.932" v="768"/>
          <ac:spMkLst>
            <pc:docMk/>
            <pc:sldMk cId="3914390014" sldId="2147483355"/>
            <ac:spMk id="10" creationId="{BB541EA7-329E-90F3-02F1-6B40863C6752}"/>
          </ac:spMkLst>
        </pc:spChg>
        <pc:spChg chg="add mod">
          <ac:chgData name="Fadi Shafiq Qayed فادي شفيق القائد" userId="0a996b8d-3179-42b5-81f4-b5c8c93a4979" providerId="ADAL" clId="{64BE189A-A25D-48FD-BBD9-A78FC8D378D8}" dt="2025-03-10T05:44:05.932" v="768"/>
          <ac:spMkLst>
            <pc:docMk/>
            <pc:sldMk cId="3914390014" sldId="2147483355"/>
            <ac:spMk id="13" creationId="{94C19A45-C2D9-74B8-EB92-8D8E4199A02C}"/>
          </ac:spMkLst>
        </pc:spChg>
        <pc:spChg chg="add del mod">
          <ac:chgData name="Fadi Shafiq Qayed فادي شفيق القائد" userId="0a996b8d-3179-42b5-81f4-b5c8c93a4979" providerId="ADAL" clId="{64BE189A-A25D-48FD-BBD9-A78FC8D378D8}" dt="2025-03-10T05:44:05.735" v="767" actId="478"/>
          <ac:spMkLst>
            <pc:docMk/>
            <pc:sldMk cId="3914390014" sldId="2147483355"/>
            <ac:spMk id="16" creationId="{AE8E734F-1195-F68E-5D5D-FBE30DD90736}"/>
          </ac:spMkLst>
        </pc:spChg>
        <pc:spChg chg="add mod">
          <ac:chgData name="Fadi Shafiq Qayed فادي شفيق القائد" userId="0a996b8d-3179-42b5-81f4-b5c8c93a4979" providerId="ADAL" clId="{64BE189A-A25D-48FD-BBD9-A78FC8D378D8}" dt="2025-03-10T05:44:05.932" v="768"/>
          <ac:spMkLst>
            <pc:docMk/>
            <pc:sldMk cId="3914390014" sldId="2147483355"/>
            <ac:spMk id="17" creationId="{4F27A067-C3BE-E6DB-CC0F-F46D8BC5AF4B}"/>
          </ac:spMkLst>
        </pc:spChg>
        <pc:picChg chg="mod">
          <ac:chgData name="Fadi Shafiq Qayed فادي شفيق القائد" userId="0a996b8d-3179-42b5-81f4-b5c8c93a4979" providerId="ADAL" clId="{64BE189A-A25D-48FD-BBD9-A78FC8D378D8}" dt="2025-03-04T09:05:58.602" v="623" actId="1076"/>
          <ac:picMkLst>
            <pc:docMk/>
            <pc:sldMk cId="3914390014" sldId="2147483355"/>
            <ac:picMk id="3" creationId="{8B46B672-D1D7-0402-4103-F5F63C26BB18}"/>
          </ac:picMkLst>
        </pc:picChg>
        <pc:picChg chg="add mod">
          <ac:chgData name="Fadi Shafiq Qayed فادي شفيق القائد" userId="0a996b8d-3179-42b5-81f4-b5c8c93a4979" providerId="ADAL" clId="{64BE189A-A25D-48FD-BBD9-A78FC8D378D8}" dt="2025-03-04T09:25:18.100" v="695"/>
          <ac:picMkLst>
            <pc:docMk/>
            <pc:sldMk cId="3914390014" sldId="2147483355"/>
            <ac:picMk id="15" creationId="{39AF2FD9-94C8-3EB2-B378-94445A71FB84}"/>
          </ac:picMkLst>
        </pc:picChg>
      </pc:sldChg>
      <pc:sldChg chg="addSp delSp modSp add mod">
        <pc:chgData name="Fadi Shafiq Qayed فادي شفيق القائد" userId="0a996b8d-3179-42b5-81f4-b5c8c93a4979" providerId="ADAL" clId="{64BE189A-A25D-48FD-BBD9-A78FC8D378D8}" dt="2025-03-10T05:44:18.425" v="772"/>
        <pc:sldMkLst>
          <pc:docMk/>
          <pc:sldMk cId="4152575212" sldId="2147483356"/>
        </pc:sldMkLst>
        <pc:spChg chg="del mod">
          <ac:chgData name="Fadi Shafiq Qayed فادي شفيق القائد" userId="0a996b8d-3179-42b5-81f4-b5c8c93a4979" providerId="ADAL" clId="{64BE189A-A25D-48FD-BBD9-A78FC8D378D8}" dt="2025-03-10T05:44:18.197" v="771" actId="478"/>
          <ac:spMkLst>
            <pc:docMk/>
            <pc:sldMk cId="4152575212" sldId="2147483356"/>
            <ac:spMk id="5" creationId="{E68A9842-0B7E-A507-D6AB-BA6357A4B7CE}"/>
          </ac:spMkLst>
        </pc:spChg>
        <pc:spChg chg="add mod">
          <ac:chgData name="Fadi Shafiq Qayed فادي شفيق القائد" userId="0a996b8d-3179-42b5-81f4-b5c8c93a4979" providerId="ADAL" clId="{64BE189A-A25D-48FD-BBD9-A78FC8D378D8}" dt="2025-03-10T05:44:18.425" v="772"/>
          <ac:spMkLst>
            <pc:docMk/>
            <pc:sldMk cId="4152575212" sldId="2147483356"/>
            <ac:spMk id="10" creationId="{96C4C807-8DC6-2E8E-07D2-1E28C8059341}"/>
          </ac:spMkLst>
        </pc:spChg>
        <pc:spChg chg="add mod">
          <ac:chgData name="Fadi Shafiq Qayed فادي شفيق القائد" userId="0a996b8d-3179-42b5-81f4-b5c8c93a4979" providerId="ADAL" clId="{64BE189A-A25D-48FD-BBD9-A78FC8D378D8}" dt="2025-03-10T05:44:18.425" v="772"/>
          <ac:spMkLst>
            <pc:docMk/>
            <pc:sldMk cId="4152575212" sldId="2147483356"/>
            <ac:spMk id="13" creationId="{FCA65631-4826-3494-B81D-E19BC9A1E1F4}"/>
          </ac:spMkLst>
        </pc:spChg>
        <pc:spChg chg="add del mod">
          <ac:chgData name="Fadi Shafiq Qayed فادي شفيق القائد" userId="0a996b8d-3179-42b5-81f4-b5c8c93a4979" providerId="ADAL" clId="{64BE189A-A25D-48FD-BBD9-A78FC8D378D8}" dt="2025-03-10T05:44:18.197" v="771" actId="478"/>
          <ac:spMkLst>
            <pc:docMk/>
            <pc:sldMk cId="4152575212" sldId="2147483356"/>
            <ac:spMk id="15" creationId="{887E59ED-F37E-8396-39BB-92632C283588}"/>
          </ac:spMkLst>
        </pc:spChg>
        <pc:spChg chg="add del mod">
          <ac:chgData name="Fadi Shafiq Qayed فادي شفيق القائد" userId="0a996b8d-3179-42b5-81f4-b5c8c93a4979" providerId="ADAL" clId="{64BE189A-A25D-48FD-BBD9-A78FC8D378D8}" dt="2025-03-10T05:44:18.197" v="771" actId="478"/>
          <ac:spMkLst>
            <pc:docMk/>
            <pc:sldMk cId="4152575212" sldId="2147483356"/>
            <ac:spMk id="16" creationId="{1D612CD6-5EC8-200A-FC9A-719D44AC651A}"/>
          </ac:spMkLst>
        </pc:spChg>
        <pc:spChg chg="add mod">
          <ac:chgData name="Fadi Shafiq Qayed فادي شفيق القائد" userId="0a996b8d-3179-42b5-81f4-b5c8c93a4979" providerId="ADAL" clId="{64BE189A-A25D-48FD-BBD9-A78FC8D378D8}" dt="2025-03-10T05:44:18.425" v="772"/>
          <ac:spMkLst>
            <pc:docMk/>
            <pc:sldMk cId="4152575212" sldId="2147483356"/>
            <ac:spMk id="17" creationId="{BE334FF2-FBD3-73CF-C90E-41CFB64DD024}"/>
          </ac:spMkLst>
        </pc:spChg>
        <pc:picChg chg="mod">
          <ac:chgData name="Fadi Shafiq Qayed فادي شفيق القائد" userId="0a996b8d-3179-42b5-81f4-b5c8c93a4979" providerId="ADAL" clId="{64BE189A-A25D-48FD-BBD9-A78FC8D378D8}" dt="2025-03-04T09:06:25.044" v="627" actId="1035"/>
          <ac:picMkLst>
            <pc:docMk/>
            <pc:sldMk cId="4152575212" sldId="2147483356"/>
            <ac:picMk id="3" creationId="{5DE54558-411E-3E18-D767-9284775FE705}"/>
          </ac:picMkLst>
        </pc:picChg>
        <pc:picChg chg="add mod">
          <ac:chgData name="Fadi Shafiq Qayed فادي شفيق القائد" userId="0a996b8d-3179-42b5-81f4-b5c8c93a4979" providerId="ADAL" clId="{64BE189A-A25D-48FD-BBD9-A78FC8D378D8}" dt="2025-03-04T09:25:22.341" v="696"/>
          <ac:picMkLst>
            <pc:docMk/>
            <pc:sldMk cId="4152575212" sldId="2147483356"/>
            <ac:picMk id="6" creationId="{BED1523F-A034-3721-FDB8-60A31A799E2D}"/>
          </ac:picMkLst>
        </pc:picChg>
      </pc:sldChg>
      <pc:sldChg chg="addSp delSp modSp add mod">
        <pc:chgData name="Fadi Shafiq Qayed فادي شفيق القائد" userId="0a996b8d-3179-42b5-81f4-b5c8c93a4979" providerId="ADAL" clId="{64BE189A-A25D-48FD-BBD9-A78FC8D378D8}" dt="2025-03-10T05:44:31.195" v="776" actId="1076"/>
        <pc:sldMkLst>
          <pc:docMk/>
          <pc:sldMk cId="923722761" sldId="2147483357"/>
        </pc:sldMkLst>
        <pc:spChg chg="del mod">
          <ac:chgData name="Fadi Shafiq Qayed فادي شفيق القائد" userId="0a996b8d-3179-42b5-81f4-b5c8c93a4979" providerId="ADAL" clId="{64BE189A-A25D-48FD-BBD9-A78FC8D378D8}" dt="2025-03-10T05:44:13.641" v="769" actId="478"/>
          <ac:spMkLst>
            <pc:docMk/>
            <pc:sldMk cId="923722761" sldId="2147483357"/>
            <ac:spMk id="5" creationId="{D2C6CAC9-9919-499E-A4FB-06DA95974E04}"/>
          </ac:spMkLst>
        </pc:spChg>
        <pc:spChg chg="add del mod">
          <ac:chgData name="Fadi Shafiq Qayed فادي شفيق القائد" userId="0a996b8d-3179-42b5-81f4-b5c8c93a4979" providerId="ADAL" clId="{64BE189A-A25D-48FD-BBD9-A78FC8D378D8}" dt="2025-03-10T05:44:13.641" v="769" actId="478"/>
          <ac:spMkLst>
            <pc:docMk/>
            <pc:sldMk cId="923722761" sldId="2147483357"/>
            <ac:spMk id="6" creationId="{B93939C8-4B31-6236-9948-F2F6CF3CA17F}"/>
          </ac:spMkLst>
        </pc:spChg>
        <pc:spChg chg="add del mod">
          <ac:chgData name="Fadi Shafiq Qayed فادي شفيق القائد" userId="0a996b8d-3179-42b5-81f4-b5c8c93a4979" providerId="ADAL" clId="{64BE189A-A25D-48FD-BBD9-A78FC8D378D8}" dt="2025-03-10T05:44:25.745" v="773" actId="478"/>
          <ac:spMkLst>
            <pc:docMk/>
            <pc:sldMk cId="923722761" sldId="2147483357"/>
            <ac:spMk id="10" creationId="{D5C2696E-5FC2-87EA-069C-5D5560B23FB4}"/>
          </ac:spMkLst>
        </pc:spChg>
        <pc:spChg chg="add del mod">
          <ac:chgData name="Fadi Shafiq Qayed فادي شفيق القائد" userId="0a996b8d-3179-42b5-81f4-b5c8c93a4979" providerId="ADAL" clId="{64BE189A-A25D-48FD-BBD9-A78FC8D378D8}" dt="2025-03-10T05:44:25.745" v="773" actId="478"/>
          <ac:spMkLst>
            <pc:docMk/>
            <pc:sldMk cId="923722761" sldId="2147483357"/>
            <ac:spMk id="13" creationId="{3F40D3A7-8CE5-C0FF-ACA5-1A0BCD49B3F5}"/>
          </ac:spMkLst>
        </pc:spChg>
        <pc:spChg chg="add del mod">
          <ac:chgData name="Fadi Shafiq Qayed فادي شفيق القائد" userId="0a996b8d-3179-42b5-81f4-b5c8c93a4979" providerId="ADAL" clId="{64BE189A-A25D-48FD-BBD9-A78FC8D378D8}" dt="2025-03-10T05:44:13.641" v="769" actId="478"/>
          <ac:spMkLst>
            <pc:docMk/>
            <pc:sldMk cId="923722761" sldId="2147483357"/>
            <ac:spMk id="15" creationId="{27E52F35-26BB-2F27-6E8F-4D673EB710F8}"/>
          </ac:spMkLst>
        </pc:spChg>
        <pc:spChg chg="add del mod">
          <ac:chgData name="Fadi Shafiq Qayed فادي شفيق القائد" userId="0a996b8d-3179-42b5-81f4-b5c8c93a4979" providerId="ADAL" clId="{64BE189A-A25D-48FD-BBD9-A78FC8D378D8}" dt="2025-03-10T05:44:25.745" v="773" actId="478"/>
          <ac:spMkLst>
            <pc:docMk/>
            <pc:sldMk cId="923722761" sldId="2147483357"/>
            <ac:spMk id="16" creationId="{E610DC58-274E-6C81-4A97-4A79CC48975A}"/>
          </ac:spMkLst>
        </pc:spChg>
        <pc:spChg chg="add mod">
          <ac:chgData name="Fadi Shafiq Qayed فادي شفيق القائد" userId="0a996b8d-3179-42b5-81f4-b5c8c93a4979" providerId="ADAL" clId="{64BE189A-A25D-48FD-BBD9-A78FC8D378D8}" dt="2025-03-10T05:44:26.031" v="774"/>
          <ac:spMkLst>
            <pc:docMk/>
            <pc:sldMk cId="923722761" sldId="2147483357"/>
            <ac:spMk id="17" creationId="{D64E339D-6E06-85F7-20BE-B12010ABA9C5}"/>
          </ac:spMkLst>
        </pc:spChg>
        <pc:spChg chg="add mod">
          <ac:chgData name="Fadi Shafiq Qayed فادي شفيق القائد" userId="0a996b8d-3179-42b5-81f4-b5c8c93a4979" providerId="ADAL" clId="{64BE189A-A25D-48FD-BBD9-A78FC8D378D8}" dt="2025-03-10T05:44:26.031" v="774"/>
          <ac:spMkLst>
            <pc:docMk/>
            <pc:sldMk cId="923722761" sldId="2147483357"/>
            <ac:spMk id="18" creationId="{6F1DE0A2-CDCC-A2EC-18DE-A5002E23ABEF}"/>
          </ac:spMkLst>
        </pc:spChg>
        <pc:spChg chg="add mod">
          <ac:chgData name="Fadi Shafiq Qayed فادي شفيق القائد" userId="0a996b8d-3179-42b5-81f4-b5c8c93a4979" providerId="ADAL" clId="{64BE189A-A25D-48FD-BBD9-A78FC8D378D8}" dt="2025-03-10T05:44:26.031" v="774"/>
          <ac:spMkLst>
            <pc:docMk/>
            <pc:sldMk cId="923722761" sldId="2147483357"/>
            <ac:spMk id="19" creationId="{EFB82293-C923-A26B-555F-93EAC944A332}"/>
          </ac:spMkLst>
        </pc:spChg>
        <pc:picChg chg="mod">
          <ac:chgData name="Fadi Shafiq Qayed فادي شفيق القائد" userId="0a996b8d-3179-42b5-81f4-b5c8c93a4979" providerId="ADAL" clId="{64BE189A-A25D-48FD-BBD9-A78FC8D378D8}" dt="2025-03-04T09:06:34.598" v="629" actId="1076"/>
          <ac:picMkLst>
            <pc:docMk/>
            <pc:sldMk cId="923722761" sldId="2147483357"/>
            <ac:picMk id="3" creationId="{44B7FAD9-27E4-2E7F-B0F7-20690D48A473}"/>
          </ac:picMkLst>
        </pc:picChg>
        <pc:picChg chg="add mod">
          <ac:chgData name="Fadi Shafiq Qayed فادي شفيق القائد" userId="0a996b8d-3179-42b5-81f4-b5c8c93a4979" providerId="ADAL" clId="{64BE189A-A25D-48FD-BBD9-A78FC8D378D8}" dt="2025-03-10T05:44:31.195" v="776" actId="1076"/>
          <ac:picMkLst>
            <pc:docMk/>
            <pc:sldMk cId="923722761" sldId="2147483357"/>
            <ac:picMk id="20" creationId="{04987D64-5993-A59E-4095-7178F19FFE09}"/>
          </ac:picMkLst>
        </pc:picChg>
      </pc:sldChg>
      <pc:sldChg chg="modSp add mod">
        <pc:chgData name="Fadi Shafiq Qayed فادي شفيق القائد" userId="0a996b8d-3179-42b5-81f4-b5c8c93a4979" providerId="ADAL" clId="{64BE189A-A25D-48FD-BBD9-A78FC8D378D8}" dt="2025-03-04T09:10:37.979" v="656" actId="207"/>
        <pc:sldMkLst>
          <pc:docMk/>
          <pc:sldMk cId="3886883155" sldId="2147483358"/>
        </pc:sldMkLst>
        <pc:spChg chg="mod">
          <ac:chgData name="Fadi Shafiq Qayed فادي شفيق القائد" userId="0a996b8d-3179-42b5-81f4-b5c8c93a4979" providerId="ADAL" clId="{64BE189A-A25D-48FD-BBD9-A78FC8D378D8}" dt="2025-03-04T09:10:37.979" v="656" actId="207"/>
          <ac:spMkLst>
            <pc:docMk/>
            <pc:sldMk cId="3886883155" sldId="2147483358"/>
            <ac:spMk id="56" creationId="{3B367B8E-75CF-469D-9D30-D0B38BCD23DD}"/>
          </ac:spMkLst>
        </pc:spChg>
        <pc:spChg chg="mod">
          <ac:chgData name="Fadi Shafiq Qayed فادي شفيق القائد" userId="0a996b8d-3179-42b5-81f4-b5c8c93a4979" providerId="ADAL" clId="{64BE189A-A25D-48FD-BBD9-A78FC8D378D8}" dt="2025-03-04T09:10:37.979" v="656" actId="207"/>
          <ac:spMkLst>
            <pc:docMk/>
            <pc:sldMk cId="3886883155" sldId="2147483358"/>
            <ac:spMk id="58" creationId="{3B367B8E-75CF-469D-9D30-D0B38BCD23DD}"/>
          </ac:spMkLst>
        </pc:spChg>
        <pc:spChg chg="mod">
          <ac:chgData name="Fadi Shafiq Qayed فادي شفيق القائد" userId="0a996b8d-3179-42b5-81f4-b5c8c93a4979" providerId="ADAL" clId="{64BE189A-A25D-48FD-BBD9-A78FC8D378D8}" dt="2025-03-04T09:10:37.979" v="656" actId="207"/>
          <ac:spMkLst>
            <pc:docMk/>
            <pc:sldMk cId="3886883155" sldId="2147483358"/>
            <ac:spMk id="60" creationId="{3B367B8E-75CF-469D-9D30-D0B38BCD23DD}"/>
          </ac:spMkLst>
        </pc:spChg>
      </pc:sldChg>
      <pc:sldChg chg="addSp delSp modSp add mod">
        <pc:chgData name="Fadi Shafiq Qayed فادي شفيق القائد" userId="0a996b8d-3179-42b5-81f4-b5c8c93a4979" providerId="ADAL" clId="{64BE189A-A25D-48FD-BBD9-A78FC8D378D8}" dt="2025-03-04T09:11:30.385" v="674" actId="6549"/>
        <pc:sldMkLst>
          <pc:docMk/>
          <pc:sldMk cId="2415206917" sldId="2147483359"/>
        </pc:sldMkLst>
        <pc:spChg chg="mod">
          <ac:chgData name="Fadi Shafiq Qayed فادي شفيق القائد" userId="0a996b8d-3179-42b5-81f4-b5c8c93a4979" providerId="ADAL" clId="{64BE189A-A25D-48FD-BBD9-A78FC8D378D8}" dt="2025-03-04T09:10:31.258" v="655" actId="207"/>
          <ac:spMkLst>
            <pc:docMk/>
            <pc:sldMk cId="2415206917" sldId="2147483359"/>
            <ac:spMk id="25" creationId="{3B367B8E-75CF-469D-9D30-D0B38BCD23DD}"/>
          </ac:spMkLst>
        </pc:spChg>
        <pc:spChg chg="mod">
          <ac:chgData name="Fadi Shafiq Qayed فادي شفيق القائد" userId="0a996b8d-3179-42b5-81f4-b5c8c93a4979" providerId="ADAL" clId="{64BE189A-A25D-48FD-BBD9-A78FC8D378D8}" dt="2025-03-04T09:10:31.258" v="655" actId="207"/>
          <ac:spMkLst>
            <pc:docMk/>
            <pc:sldMk cId="2415206917" sldId="2147483359"/>
            <ac:spMk id="58" creationId="{3B367B8E-75CF-469D-9D30-D0B38BCD23DD}"/>
          </ac:spMkLst>
        </pc:spChg>
        <pc:graphicFrameChg chg="add mod modGraphic">
          <ac:chgData name="Fadi Shafiq Qayed فادي شفيق القائد" userId="0a996b8d-3179-42b5-81f4-b5c8c93a4979" providerId="ADAL" clId="{64BE189A-A25D-48FD-BBD9-A78FC8D378D8}" dt="2025-03-04T09:11:30.385" v="674" actId="6549"/>
          <ac:graphicFrameMkLst>
            <pc:docMk/>
            <pc:sldMk cId="2415206917" sldId="2147483359"/>
            <ac:graphicFrameMk id="2" creationId="{B5559774-B3D7-B593-C005-099D4AB8F171}"/>
          </ac:graphicFrameMkLst>
        </pc:graphicFrameChg>
      </pc:sldChg>
      <pc:sldChg chg="modSp add mod">
        <pc:chgData name="Fadi Shafiq Qayed فادي شفيق القائد" userId="0a996b8d-3179-42b5-81f4-b5c8c93a4979" providerId="ADAL" clId="{64BE189A-A25D-48FD-BBD9-A78FC8D378D8}" dt="2025-03-04T09:10:06.294" v="651"/>
        <pc:sldMkLst>
          <pc:docMk/>
          <pc:sldMk cId="1065222007" sldId="2147483360"/>
        </pc:sldMkLst>
        <pc:spChg chg="mod">
          <ac:chgData name="Fadi Shafiq Qayed فادي شفيق القائد" userId="0a996b8d-3179-42b5-81f4-b5c8c93a4979" providerId="ADAL" clId="{64BE189A-A25D-48FD-BBD9-A78FC8D378D8}" dt="2025-03-04T09:10:01.260" v="650"/>
          <ac:spMkLst>
            <pc:docMk/>
            <pc:sldMk cId="1065222007" sldId="2147483360"/>
            <ac:spMk id="9" creationId="{43716B24-C158-91FB-4835-76CACB2D552B}"/>
          </ac:spMkLst>
        </pc:spChg>
        <pc:spChg chg="mod">
          <ac:chgData name="Fadi Shafiq Qayed فادي شفيق القائد" userId="0a996b8d-3179-42b5-81f4-b5c8c93a4979" providerId="ADAL" clId="{64BE189A-A25D-48FD-BBD9-A78FC8D378D8}" dt="2025-03-04T09:10:06.294" v="651"/>
          <ac:spMkLst>
            <pc:docMk/>
            <pc:sldMk cId="1065222007" sldId="2147483360"/>
            <ac:spMk id="31" creationId="{83CD3256-62EA-9519-7D29-0CEB218EC9E2}"/>
          </ac:spMkLst>
        </pc:spChg>
      </pc:sldChg>
      <pc:sldChg chg="addSp delSp modSp add mod">
        <pc:chgData name="Fadi Shafiq Qayed فادي شفيق القائد" userId="0a996b8d-3179-42b5-81f4-b5c8c93a4979" providerId="ADAL" clId="{64BE189A-A25D-48FD-BBD9-A78FC8D378D8}" dt="2025-03-04T09:25:31.800" v="700" actId="1076"/>
        <pc:sldMkLst>
          <pc:docMk/>
          <pc:sldMk cId="2154136435" sldId="2147483361"/>
        </pc:sldMkLst>
        <pc:spChg chg="mod topLvl">
          <ac:chgData name="Fadi Shafiq Qayed فادي شفيق القائد" userId="0a996b8d-3179-42b5-81f4-b5c8c93a4979" providerId="ADAL" clId="{64BE189A-A25D-48FD-BBD9-A78FC8D378D8}" dt="2025-03-04T09:15:52.201" v="686" actId="165"/>
          <ac:spMkLst>
            <pc:docMk/>
            <pc:sldMk cId="2154136435" sldId="2147483361"/>
            <ac:spMk id="5" creationId="{014150B5-1AE9-D2CA-C339-E137FDC04D0B}"/>
          </ac:spMkLst>
        </pc:spChg>
        <pc:spChg chg="mod topLvl">
          <ac:chgData name="Fadi Shafiq Qayed فادي شفيق القائد" userId="0a996b8d-3179-42b5-81f4-b5c8c93a4979" providerId="ADAL" clId="{64BE189A-A25D-48FD-BBD9-A78FC8D378D8}" dt="2025-03-04T09:15:52.201" v="686" actId="165"/>
          <ac:spMkLst>
            <pc:docMk/>
            <pc:sldMk cId="2154136435" sldId="2147483361"/>
            <ac:spMk id="6" creationId="{6A531531-528A-164B-E512-7E0512126E08}"/>
          </ac:spMkLst>
        </pc:spChg>
        <pc:spChg chg="mod">
          <ac:chgData name="Fadi Shafiq Qayed فادي شفيق القائد" userId="0a996b8d-3179-42b5-81f4-b5c8c93a4979" providerId="ADAL" clId="{64BE189A-A25D-48FD-BBD9-A78FC8D378D8}" dt="2025-03-04T09:16:05.825" v="690" actId="1076"/>
          <ac:spMkLst>
            <pc:docMk/>
            <pc:sldMk cId="2154136435" sldId="2147483361"/>
            <ac:spMk id="9" creationId="{C4C72218-84FE-A778-B44E-096ADD7F54AA}"/>
          </ac:spMkLst>
        </pc:spChg>
        <pc:spChg chg="mod">
          <ac:chgData name="Fadi Shafiq Qayed فادي شفيق القائد" userId="0a996b8d-3179-42b5-81f4-b5c8c93a4979" providerId="ADAL" clId="{64BE189A-A25D-48FD-BBD9-A78FC8D378D8}" dt="2025-03-04T09:16:01.706" v="689" actId="1076"/>
          <ac:spMkLst>
            <pc:docMk/>
            <pc:sldMk cId="2154136435" sldId="2147483361"/>
            <ac:spMk id="31" creationId="{3D7CD28B-546B-B1C0-6C25-D41D1399386D}"/>
          </ac:spMkLst>
        </pc:spChg>
        <pc:picChg chg="add mod">
          <ac:chgData name="Fadi Shafiq Qayed فادي شفيق القائد" userId="0a996b8d-3179-42b5-81f4-b5c8c93a4979" providerId="ADAL" clId="{64BE189A-A25D-48FD-BBD9-A78FC8D378D8}" dt="2025-03-04T09:25:31.800" v="700" actId="1076"/>
          <ac:picMkLst>
            <pc:docMk/>
            <pc:sldMk cId="2154136435" sldId="2147483361"/>
            <ac:picMk id="11" creationId="{FAEBEF37-13EB-FEE4-CFF8-911811504686}"/>
          </ac:picMkLst>
        </pc:picChg>
        <pc:cxnChg chg="mod">
          <ac:chgData name="Fadi Shafiq Qayed فادي شفيق القائد" userId="0a996b8d-3179-42b5-81f4-b5c8c93a4979" providerId="ADAL" clId="{64BE189A-A25D-48FD-BBD9-A78FC8D378D8}" dt="2025-03-04T09:15:59.562" v="688" actId="1076"/>
          <ac:cxnSpMkLst>
            <pc:docMk/>
            <pc:sldMk cId="2154136435" sldId="2147483361"/>
            <ac:cxnSpMk id="2" creationId="{2823A15E-F6D0-3F16-4A36-5A59FAC3F29B}"/>
          </ac:cxnSpMkLst>
        </pc:cxnChg>
      </pc:sldChg>
      <pc:sldChg chg="addSp delSp modSp add del mod">
        <pc:chgData name="Fadi Shafiq Qayed فادي شفيق القائد" userId="0a996b8d-3179-42b5-81f4-b5c8c93a4979" providerId="ADAL" clId="{64BE189A-A25D-48FD-BBD9-A78FC8D378D8}" dt="2025-03-04T09:25:46.490" v="706" actId="47"/>
        <pc:sldMkLst>
          <pc:docMk/>
          <pc:sldMk cId="3276264751" sldId="2147483362"/>
        </pc:sldMkLst>
      </pc:sldChg>
      <pc:sldMasterChg chg="add del addSldLayout delSldLayout">
        <pc:chgData name="Fadi Shafiq Qayed فادي شفيق القائد" userId="0a996b8d-3179-42b5-81f4-b5c8c93a4979" providerId="ADAL" clId="{64BE189A-A25D-48FD-BBD9-A78FC8D378D8}" dt="2025-03-04T08:53:58.656" v="322" actId="47"/>
        <pc:sldMasterMkLst>
          <pc:docMk/>
          <pc:sldMasterMk cId="172480484" sldId="2147483694"/>
        </pc:sldMasterMkLst>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2323395729" sldId="2147483695"/>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4065301009" sldId="2147483696"/>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373244178" sldId="2147483697"/>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350442734" sldId="2147483698"/>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3105910285" sldId="2147483699"/>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3518391354" sldId="2147483700"/>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125382537" sldId="2147483701"/>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1429230718" sldId="2147483702"/>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997690110" sldId="2147483703"/>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3653892949" sldId="2147483704"/>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1144340870" sldId="2147483705"/>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540267258" sldId="2147483706"/>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3450821783" sldId="2147483707"/>
          </pc:sldLayoutMkLst>
        </pc:sldLayoutChg>
        <pc:sldLayoutChg chg="add del">
          <pc:chgData name="Fadi Shafiq Qayed فادي شفيق القائد" userId="0a996b8d-3179-42b5-81f4-b5c8c93a4979" providerId="ADAL" clId="{64BE189A-A25D-48FD-BBD9-A78FC8D378D8}" dt="2025-03-04T08:43:19.517" v="8" actId="47"/>
          <pc:sldLayoutMkLst>
            <pc:docMk/>
            <pc:sldMasterMk cId="172480484" sldId="2147483694"/>
            <pc:sldLayoutMk cId="3413157615" sldId="2147483709"/>
          </pc:sldLayoutMkLst>
        </pc:sldLayoutChg>
        <pc:sldLayoutChg chg="del">
          <pc:chgData name="Fadi Shafiq Qayed فادي شفيق القائد" userId="0a996b8d-3179-42b5-81f4-b5c8c93a4979" providerId="ADAL" clId="{64BE189A-A25D-48FD-BBD9-A78FC8D378D8}" dt="2025-03-04T08:53:58.656" v="322" actId="47"/>
          <pc:sldLayoutMkLst>
            <pc:docMk/>
            <pc:sldMasterMk cId="172480484" sldId="2147483694"/>
            <pc:sldLayoutMk cId="4169902297" sldId="2147483710"/>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aburshaid\Desktop\New%20folder\&#1575;&#1604;&#1608;&#1575;&#1585;&#1583;&#1575;&#1578;%20&#1575;&#1604;&#1589;&#1606;&#1575;&#1593;&#1610;&#1577;%20(Updated)%20(version%201).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Top Exported Products by SMEs </a:t>
            </a:r>
          </a:p>
        </c:rich>
      </c:tx>
      <c:layout>
        <c:manualLayout>
          <c:xMode val="edge"/>
          <c:yMode val="edge"/>
          <c:x val="0.39754891708470635"/>
          <c:y val="1.449944932537601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5814562845240246E-2"/>
          <c:y val="9.0621558283600107E-2"/>
          <c:w val="0.92198591160015941"/>
          <c:h val="0.8465798424925961"/>
        </c:manualLayout>
      </c:layout>
      <c:barChart>
        <c:barDir val="col"/>
        <c:grouping val="clustered"/>
        <c:varyColors val="0"/>
        <c:ser>
          <c:idx val="0"/>
          <c:order val="0"/>
          <c:tx>
            <c:strRef>
              <c:f>Sheet6!$E$15</c:f>
              <c:strCache>
                <c:ptCount val="1"/>
                <c:pt idx="0">
                  <c:v>value </c:v>
                </c:pt>
              </c:strCache>
            </c:strRef>
          </c:tx>
          <c:spPr>
            <a:solidFill>
              <a:srgbClr val="7F6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6!$D$16:$D$23</c:f>
              <c:strCache>
                <c:ptCount val="8"/>
                <c:pt idx="0">
                  <c:v>Construction Materials</c:v>
                </c:pt>
                <c:pt idx="1">
                  <c:v>Chemicals</c:v>
                </c:pt>
                <c:pt idx="2">
                  <c:v>Electrical Products</c:v>
                </c:pt>
                <c:pt idx="3">
                  <c:v>Oil &amp; Gas</c:v>
                </c:pt>
                <c:pt idx="4">
                  <c:v>Plastic &amp; Packaging</c:v>
                </c:pt>
                <c:pt idx="5">
                  <c:v>Recycling</c:v>
                </c:pt>
                <c:pt idx="6">
                  <c:v>Medical</c:v>
                </c:pt>
                <c:pt idx="7">
                  <c:v>Other</c:v>
                </c:pt>
              </c:strCache>
            </c:strRef>
          </c:cat>
          <c:val>
            <c:numRef>
              <c:f>Sheet6!$E$16:$E$23</c:f>
              <c:numCache>
                <c:formatCode>General</c:formatCode>
                <c:ptCount val="8"/>
                <c:pt idx="0">
                  <c:v>1421</c:v>
                </c:pt>
                <c:pt idx="1">
                  <c:v>417</c:v>
                </c:pt>
                <c:pt idx="2">
                  <c:v>323</c:v>
                </c:pt>
                <c:pt idx="3">
                  <c:v>301</c:v>
                </c:pt>
                <c:pt idx="4">
                  <c:v>285</c:v>
                </c:pt>
                <c:pt idx="5">
                  <c:v>212</c:v>
                </c:pt>
                <c:pt idx="6">
                  <c:v>42</c:v>
                </c:pt>
                <c:pt idx="7">
                  <c:v>16</c:v>
                </c:pt>
              </c:numCache>
            </c:numRef>
          </c:val>
          <c:extLst>
            <c:ext xmlns:c16="http://schemas.microsoft.com/office/drawing/2014/chart" uri="{C3380CC4-5D6E-409C-BE32-E72D297353CC}">
              <c16:uniqueId val="{00000000-2DAE-4E70-8A85-74F8CB4E989A}"/>
            </c:ext>
          </c:extLst>
        </c:ser>
        <c:dLbls>
          <c:dLblPos val="outEnd"/>
          <c:showLegendKey val="0"/>
          <c:showVal val="1"/>
          <c:showCatName val="0"/>
          <c:showSerName val="0"/>
          <c:showPercent val="0"/>
          <c:showBubbleSize val="0"/>
        </c:dLbls>
        <c:gapWidth val="219"/>
        <c:overlap val="-27"/>
        <c:axId val="1947796079"/>
        <c:axId val="1002921263"/>
      </c:barChart>
      <c:catAx>
        <c:axId val="19477960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002921263"/>
        <c:crosses val="autoZero"/>
        <c:auto val="1"/>
        <c:lblAlgn val="ctr"/>
        <c:lblOffset val="100"/>
        <c:noMultiLvlLbl val="0"/>
      </c:catAx>
      <c:valAx>
        <c:axId val="1002921263"/>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r>
                  <a:rPr lang="en-US" sz="1400" b="1"/>
                  <a:t>Value (Million QAR)</a:t>
                </a:r>
              </a:p>
            </c:rich>
          </c:tx>
          <c:overlay val="0"/>
          <c:spPr>
            <a:noFill/>
            <a:ln>
              <a:noFill/>
            </a:ln>
            <a:effectLst/>
          </c:spPr>
          <c:txPr>
            <a:bodyPr rot="-54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947796079"/>
        <c:crosses val="autoZero"/>
        <c:crossBetween val="between"/>
      </c:valAx>
      <c:spPr>
        <a:noFill/>
        <a:ln>
          <a:noFill/>
        </a:ln>
        <a:effectLst/>
      </c:spPr>
    </c:plotArea>
    <c:plotVisOnly val="1"/>
    <c:dispBlanksAs val="gap"/>
    <c:showDLblsOverMax val="0"/>
  </c:chart>
  <c:spPr>
    <a:noFill/>
    <a:ln>
      <a:solidFill>
        <a:srgbClr val="7F6000"/>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BBC823F-CFDD-4183-A026-323438AD8ECE}" type="datetimeFigureOut">
              <a:rPr lang="en-US" smtClean="0"/>
              <a:t>3/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3F26C4-0F73-4907-8F98-F4EB73315185}" type="slidenum">
              <a:rPr lang="en-US" smtClean="0"/>
              <a:t>‹#›</a:t>
            </a:fld>
            <a:endParaRPr lang="en-US"/>
          </a:p>
        </p:txBody>
      </p:sp>
    </p:spTree>
    <p:extLst>
      <p:ext uri="{BB962C8B-B14F-4D97-AF65-F5344CB8AC3E}">
        <p14:creationId xmlns:p14="http://schemas.microsoft.com/office/powerpoint/2010/main" val="28723849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ITC Avant Garde Std Bk" panose="020B0502020202020204" pitchFamily="34" charset="0"/>
                <a:ea typeface="+mn-ea"/>
                <a:cs typeface="+mn-cs"/>
                <a:sym typeface="ITC Avant Garde Std Bk" panose="020B0502020202020204" pitchFamily="34" charset="0"/>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ITC Avant Garde Std Bk" panose="020B0502020202020204" pitchFamily="34" charset="0"/>
                <a:ea typeface="+mn-ea"/>
                <a:cs typeface="+mn-cs"/>
                <a:sym typeface="ITC Avant Garde Std Bk" panose="020B0502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ITC Avant Garde Std Bk" panose="020B0502020202020204" pitchFamily="34" charset="0"/>
              <a:ea typeface="+mn-ea"/>
              <a:cs typeface="+mn-cs"/>
              <a:sym typeface="ITC Avant Garde Std Bk" panose="020B0502020202020204" pitchFamily="34" charset="0"/>
            </a:endParaRPr>
          </a:p>
        </p:txBody>
      </p:sp>
    </p:spTree>
    <p:extLst>
      <p:ext uri="{BB962C8B-B14F-4D97-AF65-F5344CB8AC3E}">
        <p14:creationId xmlns:p14="http://schemas.microsoft.com/office/powerpoint/2010/main" val="2919931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B53753-1FD9-48DA-5FBB-D2F401AEC2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66C209-5A48-3EAE-3E84-2629D0BA6D7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D88F67-AA9F-2282-6C9A-4B4BC46E5F2F}"/>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id="{F5F03E75-5192-8227-A1DD-5E77A926F6C1}"/>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10</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2340100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D7CEC4-EE1B-5F8F-1EA1-618018F251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2F6ADE-3BA4-8BF1-4798-D5E3FFBC43C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B6C689-8CC1-CF41-9360-B2A4325EE053}"/>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id="{733584FF-69D9-3F13-30C4-514945F06B85}"/>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11</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27550597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3E876D-1335-F10B-4E6C-641D53079F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12E39A-A93E-729E-6640-0B34C47E44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7CB7D1B-D722-FEE3-1060-B3E18E4FCE11}"/>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id="{EE1719E4-A60C-7CEF-9777-13DDF8E3025F}"/>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14</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9765025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469A9D-C74E-025F-70C4-4CF62DB1152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9D49086-CCBF-4798-CCBA-9FBED4C794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D52E06-8128-54F0-7DEA-2ABDCE45D33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ADACA0C-68AF-8D87-C97E-54A180F5999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ITC Avant Garde Std Bk" panose="020B0502020202020204" pitchFamily="34" charset="0"/>
                <a:ea typeface="+mn-ea"/>
                <a:cs typeface="+mn-cs"/>
                <a:sym typeface="ITC Avant Garde Std Bk" panose="020B0502020202020204" pitchFamily="34" charset="0"/>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ITC Avant Garde Std Bk" panose="020B0502020202020204" pitchFamily="34" charset="0"/>
                <a:ea typeface="+mn-ea"/>
                <a:cs typeface="+mn-cs"/>
                <a:sym typeface="ITC Avant Garde Std Bk" panose="020B0502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ITC Avant Garde Std Bk" panose="020B0502020202020204" pitchFamily="34" charset="0"/>
              <a:ea typeface="+mn-ea"/>
              <a:cs typeface="+mn-cs"/>
              <a:sym typeface="ITC Avant Garde Std Bk" panose="020B0502020202020204" pitchFamily="34" charset="0"/>
            </a:endParaRPr>
          </a:p>
        </p:txBody>
      </p:sp>
    </p:spTree>
    <p:extLst>
      <p:ext uri="{BB962C8B-B14F-4D97-AF65-F5344CB8AC3E}">
        <p14:creationId xmlns:p14="http://schemas.microsoft.com/office/powerpoint/2010/main" val="13433232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531B95-ACBD-E2B1-F53E-FAC213E54F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1787BF-9B78-D523-1469-4BF7D63603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A785C1-16BC-2884-EA42-655BB8E8426A}"/>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id="{9DAB754B-7029-3ED9-7E49-DFD6AF39CBF6}"/>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27</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41985752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C115D5-9725-8D02-364A-99F8D55BF6E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D7891E-A673-C154-0347-12AAA8B856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E239F5-DAC0-528D-0619-AC6C86757B4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E2DD7D7-5A6F-2472-0FA5-ED52A241546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ITC Avant Garde Std Bk" panose="020B0502020202020204" pitchFamily="34" charset="0"/>
                <a:ea typeface="+mn-ea"/>
                <a:cs typeface="+mn-cs"/>
                <a:sym typeface="ITC Avant Garde Std Bk" panose="020B0502020202020204" pitchFamily="34" charset="0"/>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ITC Avant Garde Std Bk" panose="020B0502020202020204" pitchFamily="34" charset="0"/>
                <a:ea typeface="+mn-ea"/>
                <a:cs typeface="+mn-cs"/>
                <a:sym typeface="ITC Avant Garde Std Bk" panose="020B0502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ITC Avant Garde Std Bk" panose="020B0502020202020204" pitchFamily="34" charset="0"/>
              <a:ea typeface="+mn-ea"/>
              <a:cs typeface="+mn-cs"/>
              <a:sym typeface="ITC Avant Garde Std Bk" panose="020B0502020202020204" pitchFamily="34" charset="0"/>
            </a:endParaRPr>
          </a:p>
        </p:txBody>
      </p:sp>
    </p:spTree>
    <p:extLst>
      <p:ext uri="{BB962C8B-B14F-4D97-AF65-F5344CB8AC3E}">
        <p14:creationId xmlns:p14="http://schemas.microsoft.com/office/powerpoint/2010/main" val="40531086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0AB85A-489B-DA7D-6EBB-220AB0D51F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29225D-5C0E-2070-E424-DE0ABC1833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1CC6E0-E71A-9035-FCCB-0C26D14F626F}"/>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id="{1D8C7A4D-98ED-C88C-EC25-9AAE5E9821A9}"/>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33</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26146138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1688D3-CEFC-6AEB-1DA1-D43161BE45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1120E7E-9334-0A60-CD0F-B7A7C407EF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B70CDB4-7789-591B-5096-B6E9DE9D42D0}"/>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id="{9FE85199-7FD0-454D-AE12-341D5B67644F}"/>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34</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7001354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9A0FAC-B911-9C53-FD5E-BBE74B293C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785823-6349-EEB0-8B8F-B153B869EE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E4AF53-020F-70E8-F8DC-D93A564DFA42}"/>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id="{C4754DD6-E11F-8F2C-D22A-0EF155E89830}"/>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2</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16522910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A5D668-09F4-16AC-B22B-5974EA5C8C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DF447F-3881-AEC1-260C-79BC7CC02E7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621D7B-4DE4-2DD5-7D4E-8BEF9F78AE28}"/>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id="{5F65B5E9-6318-3647-4F72-D42FB4754B35}"/>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3</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14998451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478702-F429-CD24-2C5A-AFE6B4F864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51D52C-00F3-DE5D-1A78-23B0B1A2B7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87556CC-1518-0DDA-50AE-93730A2E6B91}"/>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id="{FFADE22D-3423-AE73-090D-2E4955A721E6}"/>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4</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8653604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32FD20-DD88-CBBD-9A08-518EEC3751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405013-0DBB-ADDE-6DCD-4527B07A63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CB6A66-4667-9100-C536-52BE9EF45C20}"/>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id="{CD5854A4-8F1A-EA13-801B-05C9217E69DF}"/>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5</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26132409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93B8B8-4628-2F4C-0A51-D39797E3BB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40225A-EEFA-83D0-2FCE-5790F0414BA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E81DC2-EC10-9681-47F1-AC323BF08B72}"/>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id="{0B18A0B9-FE41-5A68-6D71-F6441FAE0ADF}"/>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6</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39168762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25A480-5BAF-E681-8E92-7B41AC9AEE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9B11EF-6EB2-8340-DA6A-D3E7516CEA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D2256C-069E-77A2-A416-6A54FCDB58A4}"/>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id="{3A06B9C4-8A2A-D925-FC60-0DE63F36E0FF}"/>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7</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9684071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28848A-C234-1032-8425-C0ACE72EB2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DE1452-F3E7-97FE-5352-07BBAFCC24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64AD21-61A7-DE1E-1C56-14EA30E54A86}"/>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id="{9A10309D-EE0C-46E0-6E0D-96E63AA630E7}"/>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8</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7952392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BFFCF3-56DD-5F69-67DE-2DFE3FEE7D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D99CB4-AE7A-BDEB-AFD4-73B13C8FC8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57F32A-5AAA-97F3-8939-B17DAD610D33}"/>
              </a:ext>
            </a:extLst>
          </p:cNvPr>
          <p:cNvSpPr>
            <a:spLocks noGrp="1"/>
          </p:cNvSpPr>
          <p:nvPr>
            <p:ph type="body" idx="1"/>
          </p:nvPr>
        </p:nvSpPr>
        <p:spPr/>
        <p:txBody>
          <a:bodyPr/>
          <a:lstStyle/>
          <a:p>
            <a:endParaRPr lang="ar" b="1" dirty="0"/>
          </a:p>
        </p:txBody>
      </p:sp>
      <p:sp>
        <p:nvSpPr>
          <p:cNvPr id="4" name="Slide Number Placeholder 3">
            <a:extLst>
              <a:ext uri="{FF2B5EF4-FFF2-40B4-BE49-F238E27FC236}">
                <a16:creationId xmlns:a16="http://schemas.microsoft.com/office/drawing/2014/main" id="{0BAEB207-05A1-7232-0F55-A7A3377CFD89}"/>
              </a:ext>
            </a:extLst>
          </p:cNvPr>
          <p:cNvSpPr>
            <a:spLocks noGrp="1"/>
          </p:cNvSpPr>
          <p:nvPr>
            <p:ph type="sldNum" sz="quarter" idx="5"/>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t>عرض الملاحظات: </a:t>
            </a:r>
            <a:fld id="{128CEAFE-FA94-43E5-B0FF-D47E1CCDD1B4}" type="slidenum">
              <a:rPr kumimoji="0"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rPr>
              <a:pPr marL="0" marR="0" lvl="0" indent="0" algn="r" defTabSz="914400" rtl="1" eaLnBrk="1" fontAlgn="auto" latinLnBrk="0" hangingPunct="1">
                <a:lnSpc>
                  <a:spcPct val="100000"/>
                </a:lnSpc>
                <a:spcBef>
                  <a:spcPts val="0"/>
                </a:spcBef>
                <a:spcAft>
                  <a:spcPts val="0"/>
                </a:spcAft>
                <a:buClrTx/>
                <a:buSzTx/>
                <a:buFontTx/>
                <a:buNone/>
                <a:tabLst/>
                <a:defRPr/>
              </a:pPr>
              <a:t>9</a:t>
            </a:fld>
            <a:endParaRPr kumimoji="0" lang="ar" sz="1400" b="0" i="0" u="none" strike="noStrike" kern="1200" cap="none" spc="0" normalizeH="0" baseline="0" noProof="0">
              <a:ln>
                <a:noFill/>
              </a:ln>
              <a:solidFill>
                <a:srgbClr val="6E6F73"/>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13278959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png"/><Relationship Id="rId3" Type="http://schemas.openxmlformats.org/officeDocument/2006/relationships/slideMaster" Target="../slideMasters/slideMaster2.xml"/><Relationship Id="rId7" Type="http://schemas.microsoft.com/office/2007/relationships/hdphoto" Target="../media/hdphoto1.wdp"/><Relationship Id="rId12" Type="http://schemas.openxmlformats.org/officeDocument/2006/relationships/image" Target="../media/image10.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png"/><Relationship Id="rId11" Type="http://schemas.openxmlformats.org/officeDocument/2006/relationships/image" Target="../media/image9.png"/><Relationship Id="rId5" Type="http://schemas.openxmlformats.org/officeDocument/2006/relationships/image" Target="../media/image4.emf"/><Relationship Id="rId10" Type="http://schemas.openxmlformats.org/officeDocument/2006/relationships/image" Target="../media/image8.png"/><Relationship Id="rId4" Type="http://schemas.openxmlformats.org/officeDocument/2006/relationships/oleObject" Target="../embeddings/oleObject2.bin"/><Relationship Id="rId9" Type="http://schemas.openxmlformats.org/officeDocument/2006/relationships/image" Target="../media/image7.png"/><Relationship Id="rId14" Type="http://schemas.openxmlformats.org/officeDocument/2006/relationships/image" Target="../media/image1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12192000" y="0"/>
          <a:ext cx="0" cy="0"/>
          <a:chOff x="1219200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73184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a:extLst>
              <a:ext uri="{FF2B5EF4-FFF2-40B4-BE49-F238E27FC236}">
                <a16:creationId xmlns:a16="http://schemas.microsoft.com/office/drawing/2014/main" id="{9D308F7C-03D9-4253-BAB7-F814E8C55FCB}"/>
              </a:ext>
            </a:extLst>
          </p:cNvPr>
          <p:cNvSpPr/>
          <p:nvPr userDrawn="1"/>
        </p:nvSpPr>
        <p:spPr>
          <a:xfrm>
            <a:off x="-1587" y="0"/>
            <a:ext cx="12193588" cy="6858000"/>
          </a:xfrm>
          <a:prstGeom prst="rect">
            <a:avLst/>
          </a:prstGeom>
          <a:solidFill>
            <a:schemeClr val="bg1"/>
          </a:solidFill>
          <a:ln w="12700">
            <a:miter lim="400000"/>
          </a:ln>
        </p:spPr>
        <p:txBody>
          <a:bodyPr lIns="0" tIns="0" rIns="0" bIns="0" anchor="ctr"/>
          <a:lstStyle/>
          <a:p>
            <a:pPr algn="r" defTabSz="1651000" rtl="1">
              <a:defRPr sz="6400" b="0">
                <a:solidFill>
                  <a:srgbClr val="FFFFFF"/>
                </a:solidFill>
                <a:latin typeface="+mn-lt"/>
                <a:ea typeface="+mn-ea"/>
                <a:cs typeface="+mn-cs"/>
                <a:sym typeface="Helvetica Neue Medium"/>
              </a:defRPr>
            </a:pPr>
            <a:endParaRPr lang="en-US" sz="6400">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r" rtl="1" eaLnBrk="1">
              <a:lnSpc>
                <a:spcPct val="93000"/>
              </a:lnSpc>
              <a:spcBef>
                <a:spcPct val="0"/>
              </a:spcBef>
              <a:spcAft>
                <a:spcPct val="0"/>
              </a:spcAft>
            </a:pPr>
            <a:endParaRPr lang="en-US" sz="5400" b="0" i="0" baseline="0">
              <a:solidFill>
                <a:srgbClr val="FFFFFF"/>
              </a:solidFill>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13" name="ADVANCED SCIENCES…">
            <a:extLst>
              <a:ext uri="{FF2B5EF4-FFF2-40B4-BE49-F238E27FC236}">
                <a16:creationId xmlns:a16="http://schemas.microsoft.com/office/drawing/2014/main" id="{790AD93C-7F57-491B-A2FB-616509F1D407}"/>
              </a:ext>
            </a:extLst>
          </p:cNvPr>
          <p:cNvSpPr/>
          <p:nvPr userDrawn="1"/>
        </p:nvSpPr>
        <p:spPr>
          <a:xfrm>
            <a:off x="1116012" y="6058489"/>
            <a:ext cx="5530850" cy="430883"/>
          </a:xfrm>
          <a:prstGeom prst="rect">
            <a:avLst/>
          </a:prstGeom>
          <a:ln w="12700">
            <a:miter lim="400000"/>
          </a:ln>
          <a:extLst>
            <a:ext uri="{C572A759-6A51-4108-AA02-DFA0A04FC94B}">
              <ma14:wrappingTextBoxFlag xmlns="" xmlns:ma14="http://schemas.microsoft.com/office/mac/drawingml/2011/main" val="1"/>
            </a:ext>
          </a:extLst>
        </p:spPr>
        <p:txBody>
          <a:bodyPr wrap="square" lIns="91438" tIns="91438" rIns="91438" bIns="91438">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23" name="ADVANCED SCIENCES…">
            <a:extLst>
              <a:ext uri="{FF2B5EF4-FFF2-40B4-BE49-F238E27FC236}">
                <a16:creationId xmlns:a16="http://schemas.microsoft.com/office/drawing/2014/main" id="{5593F91F-1B7F-46AD-91A0-1160B936B49A}"/>
              </a:ext>
            </a:extLst>
          </p:cNvPr>
          <p:cNvSpPr/>
          <p:nvPr userDrawn="1"/>
        </p:nvSpPr>
        <p:spPr>
          <a:xfrm>
            <a:off x="1116012" y="4329961"/>
            <a:ext cx="9699625" cy="902807"/>
          </a:xfrm>
          <a:prstGeom prst="rect">
            <a:avLst/>
          </a:prstGeom>
          <a:ln w="12700">
            <a:miter lim="400000"/>
          </a:ln>
          <a:extLst>
            <a:ext uri="{C572A759-6A51-4108-AA02-DFA0A04FC94B}">
              <ma14:wrappingTextBoxFlag xmlns="" xmlns:ma14="http://schemas.microsoft.com/office/mac/drawingml/2011/main" val="1"/>
            </a:ext>
          </a:extLst>
        </p:spPr>
        <p:txBody>
          <a:bodyPr wrap="square" lIns="91438" tIns="91438" rIns="91438" bIns="91438" anchor="t">
            <a:spAutoFit/>
          </a:bodyPr>
          <a:lstStyle/>
          <a:p>
            <a:pPr marL="0" marR="0" lvl="0" indent="0" algn="r" defTabSz="914400" rtl="1" eaLnBrk="1" fontAlgn="auto" latinLnBrk="0" hangingPunct="1">
              <a:lnSpc>
                <a:spcPts val="5600"/>
              </a:lnSpc>
              <a:spcBef>
                <a:spcPts val="0"/>
              </a:spcBef>
              <a:spcAft>
                <a:spcPts val="0"/>
              </a:spcAft>
              <a:buClrTx/>
              <a:buSzTx/>
              <a:buFontTx/>
              <a:buNone/>
              <a:tabLst/>
              <a:defRPr/>
            </a:pPr>
            <a:endParaRPr kumimoji="0" lang="ar-DZ" sz="4700" b="1" i="0" u="none" strike="noStrike" kern="1200" cap="none" spc="0" normalizeH="0" baseline="0" noProof="0">
              <a:ln>
                <a:noFill/>
              </a:ln>
              <a:solidFill>
                <a:srgbClr val="FFFFFF"/>
              </a:solidFill>
              <a:effectLst/>
              <a:uLnTx/>
              <a:uFillTx/>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24" name="ADVANCED SCIENCES…">
            <a:extLst>
              <a:ext uri="{FF2B5EF4-FFF2-40B4-BE49-F238E27FC236}">
                <a16:creationId xmlns:a16="http://schemas.microsoft.com/office/drawing/2014/main" id="{75F0FF29-65DD-495C-A9D9-0C3130A8916A}"/>
              </a:ext>
            </a:extLst>
          </p:cNvPr>
          <p:cNvSpPr/>
          <p:nvPr userDrawn="1"/>
        </p:nvSpPr>
        <p:spPr>
          <a:xfrm>
            <a:off x="1116012" y="5498830"/>
            <a:ext cx="5530850" cy="430883"/>
          </a:xfrm>
          <a:prstGeom prst="rect">
            <a:avLst/>
          </a:prstGeom>
          <a:ln w="12700">
            <a:miter lim="400000"/>
          </a:ln>
          <a:extLst>
            <a:ext uri="{C572A759-6A51-4108-AA02-DFA0A04FC94B}">
              <ma14:wrappingTextBoxFlag xmlns="" xmlns:ma14="http://schemas.microsoft.com/office/mac/drawingml/2011/main" val="1"/>
            </a:ext>
          </a:extLst>
        </p:spPr>
        <p:txBody>
          <a:bodyPr wrap="square" lIns="91438" tIns="91438" rIns="91438" bIns="91438">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akkal Majalla" panose="02000000000000000000" pitchFamily="2" charset="-78"/>
              <a:cs typeface="Sakkal Majalla" panose="02000000000000000000" pitchFamily="2" charset="-78"/>
              <a:sym typeface="Sakkal Majalla" panose="02000000000000000000" pitchFamily="2" charset="-78"/>
            </a:endParaRPr>
          </a:p>
        </p:txBody>
      </p:sp>
      <p:pic>
        <p:nvPicPr>
          <p:cNvPr id="2" name="Picture 1" descr="A white wavy paper on a white background&#10;&#10;Description automatically generated">
            <a:extLst>
              <a:ext uri="{FF2B5EF4-FFF2-40B4-BE49-F238E27FC236}">
                <a16:creationId xmlns:a16="http://schemas.microsoft.com/office/drawing/2014/main" id="{FF489087-0720-7793-D732-A260CEE83C4C}"/>
              </a:ext>
            </a:extLst>
          </p:cNvPr>
          <p:cNvPicPr>
            <a:picLocks noChangeAspect="1"/>
          </p:cNvPicPr>
          <p:nvPr userDrawn="1"/>
        </p:nvPicPr>
        <p:blipFill rotWithShape="1">
          <a:blip r:embed="rId6" cstate="email">
            <a:alphaModFix amt="50000"/>
            <a:extLst>
              <a:ext uri="{BEBA8EAE-BF5A-486C-A8C5-ECC9F3942E4B}">
                <a14:imgProps xmlns:a14="http://schemas.microsoft.com/office/drawing/2010/main">
                  <a14:imgLayer r:embed="rId7">
                    <a14:imgEffect>
                      <a14:saturation sat="395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ADVANCED SCIENCES…">
            <a:extLst>
              <a:ext uri="{FF2B5EF4-FFF2-40B4-BE49-F238E27FC236}">
                <a16:creationId xmlns:a16="http://schemas.microsoft.com/office/drawing/2014/main" id="{67E8F6D2-66B0-22EF-3AD6-0F107BB5969E}"/>
              </a:ext>
            </a:extLst>
          </p:cNvPr>
          <p:cNvSpPr/>
          <p:nvPr userDrawn="1"/>
        </p:nvSpPr>
        <p:spPr>
          <a:xfrm flipH="1">
            <a:off x="10134600" y="0"/>
            <a:ext cx="1957011" cy="307773"/>
          </a:xfrm>
          <a:prstGeom prst="rect">
            <a:avLst/>
          </a:prstGeom>
          <a:ln w="12700">
            <a:miter lim="400000"/>
          </a:ln>
          <a:extLst>
            <a:ext uri="{C572A759-6A51-4108-AA02-DFA0A04FC94B}">
              <ma14:wrappingTextBoxFlag xmlns="" xmlns:ma14="http://schemas.microsoft.com/office/mac/drawingml/2011/main" val="1"/>
            </a:ext>
          </a:extLst>
        </p:spPr>
        <p:txBody>
          <a:bodyPr wrap="square" lIns="91438" tIns="91438" rIns="91438" bIns="91438" anchor="t">
            <a:spAutoFit/>
          </a:bodyPr>
          <a:lstStyle/>
          <a:p>
            <a:pPr algn="ctr" rtl="1">
              <a:spcBef>
                <a:spcPct val="0"/>
              </a:spcBef>
            </a:pPr>
            <a:r>
              <a:rPr lang="en-US" sz="800" b="1" dirty="0">
                <a:ln w="6350" cap="flat">
                  <a:noFill/>
                  <a:miter lim="800000"/>
                </a:ln>
                <a:solidFill>
                  <a:srgbClr val="817A6C"/>
                </a:solidFill>
                <a:latin typeface="Janna LT" panose="01000000000000000000" pitchFamily="2" charset="-78"/>
                <a:ea typeface="+mj-ea"/>
                <a:cs typeface="Janna LT" panose="01000000000000000000" pitchFamily="2" charset="-78"/>
                <a:sym typeface="Sakkal Majalla" panose="02000000000000000000" pitchFamily="2" charset="-78"/>
              </a:rPr>
              <a:t>Integrated Industrial Partnership</a:t>
            </a:r>
          </a:p>
        </p:txBody>
      </p:sp>
      <p:pic>
        <p:nvPicPr>
          <p:cNvPr id="8" name="flag_UAE">
            <a:extLst>
              <a:ext uri="{FF2B5EF4-FFF2-40B4-BE49-F238E27FC236}">
                <a16:creationId xmlns:a16="http://schemas.microsoft.com/office/drawing/2014/main" id="{A21622A0-F0FF-B621-0AA1-B453653508C6}"/>
              </a:ext>
            </a:extLst>
          </p:cNvPr>
          <p:cNvPicPr>
            <a:picLocks noChangeAspect="1" noChangeArrowheads="1"/>
          </p:cNvPicPr>
          <p:nvPr userDrawn="1"/>
        </p:nvPicPr>
        <p:blipFill rotWithShape="1">
          <a:blip r:embed="rId8" cstate="email">
            <a:extLst>
              <a:ext uri="{28A0092B-C50C-407E-A947-70E740481C1C}">
                <a14:useLocalDpi xmlns:a14="http://schemas.microsoft.com/office/drawing/2010/main"/>
              </a:ext>
            </a:extLst>
          </a:blip>
          <a:srcRect/>
          <a:stretch/>
        </p:blipFill>
        <p:spPr bwMode="auto">
          <a:xfrm>
            <a:off x="11760457" y="244505"/>
            <a:ext cx="185426" cy="17486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flag_egypt">
            <a:extLst>
              <a:ext uri="{FF2B5EF4-FFF2-40B4-BE49-F238E27FC236}">
                <a16:creationId xmlns:a16="http://schemas.microsoft.com/office/drawing/2014/main" id="{4216C7A8-D538-8BC2-33C5-4A82C4202A43}"/>
              </a:ext>
            </a:extLst>
          </p:cNvPr>
          <p:cNvPicPr>
            <a:picLocks noChangeAspect="1" noChangeArrowheads="1"/>
          </p:cNvPicPr>
          <p:nvPr userDrawn="1"/>
        </p:nvPicPr>
        <p:blipFill rotWithShape="1">
          <a:blip r:embed="rId9" cstate="email">
            <a:extLst>
              <a:ext uri="{28A0092B-C50C-407E-A947-70E740481C1C}">
                <a14:useLocalDpi xmlns:a14="http://schemas.microsoft.com/office/drawing/2010/main"/>
              </a:ext>
            </a:extLst>
          </a:blip>
          <a:srcRect/>
          <a:stretch/>
        </p:blipFill>
        <p:spPr bwMode="auto">
          <a:xfrm>
            <a:off x="11530042" y="244505"/>
            <a:ext cx="185426" cy="17486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flag_jordan">
            <a:extLst>
              <a:ext uri="{FF2B5EF4-FFF2-40B4-BE49-F238E27FC236}">
                <a16:creationId xmlns:a16="http://schemas.microsoft.com/office/drawing/2014/main" id="{4D95B2C3-820B-F213-8053-AC63B22C3804}"/>
              </a:ext>
            </a:extLst>
          </p:cNvPr>
          <p:cNvPicPr>
            <a:picLocks noChangeAspect="1" noChangeArrowheads="1"/>
          </p:cNvPicPr>
          <p:nvPr userDrawn="1"/>
        </p:nvPicPr>
        <p:blipFill rotWithShape="1">
          <a:blip r:embed="rId10" cstate="email">
            <a:extLst>
              <a:ext uri="{28A0092B-C50C-407E-A947-70E740481C1C}">
                <a14:useLocalDpi xmlns:a14="http://schemas.microsoft.com/office/drawing/2010/main"/>
              </a:ext>
            </a:extLst>
          </a:blip>
          <a:srcRect/>
          <a:stretch/>
        </p:blipFill>
        <p:spPr bwMode="auto">
          <a:xfrm>
            <a:off x="11299628" y="244505"/>
            <a:ext cx="185426" cy="17486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19050">
                <a:gradFill flip="none" rotWithShape="1">
                  <a:gsLst>
                    <a:gs pos="0">
                      <a:schemeClr val="accent2"/>
                    </a:gs>
                    <a:gs pos="100000">
                      <a:schemeClr val="tx2"/>
                    </a:gs>
                  </a:gsLst>
                  <a:lin ang="2700000" scaled="1"/>
                  <a:tileRect/>
                </a:gradFill>
              </a14:hiddenLine>
            </a:ext>
          </a:extLst>
        </p:spPr>
      </p:pic>
      <p:pic>
        <p:nvPicPr>
          <p:cNvPr id="12" name="Picture 2" descr="‫علم المغرب from ar.wikipedia.org‬‎">
            <a:extLst>
              <a:ext uri="{FF2B5EF4-FFF2-40B4-BE49-F238E27FC236}">
                <a16:creationId xmlns:a16="http://schemas.microsoft.com/office/drawing/2014/main" id="{4761BD0B-6347-F84A-6054-2C30DBB113AB}"/>
              </a:ext>
            </a:extLst>
          </p:cNvPr>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auto">
          <a:xfrm>
            <a:off x="10811415" y="244505"/>
            <a:ext cx="185426" cy="17486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Picture 4">
            <a:extLst>
              <a:ext uri="{FF2B5EF4-FFF2-40B4-BE49-F238E27FC236}">
                <a16:creationId xmlns:a16="http://schemas.microsoft.com/office/drawing/2014/main" id="{32EA382B-61A2-9085-4C53-E2F31DE9E9F6}"/>
              </a:ext>
            </a:extLst>
          </p:cNvPr>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auto">
          <a:xfrm>
            <a:off x="11041829" y="248639"/>
            <a:ext cx="212811" cy="16659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50" name="Picture 2" descr="Turkey - Wikipedia">
            <a:extLst>
              <a:ext uri="{FF2B5EF4-FFF2-40B4-BE49-F238E27FC236}">
                <a16:creationId xmlns:a16="http://schemas.microsoft.com/office/drawing/2014/main" id="{3591633C-4EA7-E1B0-1FAD-78CF78FE6836}"/>
              </a:ext>
            </a:extLst>
          </p:cNvPr>
          <p:cNvPicPr>
            <a:picLocks noChangeAspect="1" noChangeArrowheads="1"/>
          </p:cNvPicPr>
          <p:nvPr userDrawn="1"/>
        </p:nvPicPr>
        <p:blipFill>
          <a:blip r:embed="rId13" cstate="email">
            <a:extLst>
              <a:ext uri="{28A0092B-C50C-407E-A947-70E740481C1C}">
                <a14:useLocalDpi xmlns:a14="http://schemas.microsoft.com/office/drawing/2010/main"/>
              </a:ext>
            </a:extLst>
          </a:blip>
          <a:srcRect/>
          <a:stretch>
            <a:fillRect/>
          </a:stretch>
        </p:blipFill>
        <p:spPr bwMode="auto">
          <a:xfrm>
            <a:off x="10323338" y="248639"/>
            <a:ext cx="185426" cy="16659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52" name="Picture 4" descr="2,400+ Qatar Qatari Flag Stock Illustrations, Royalty-Free Vector Graphics  &amp; Clip Art - iStock">
            <a:extLst>
              <a:ext uri="{FF2B5EF4-FFF2-40B4-BE49-F238E27FC236}">
                <a16:creationId xmlns:a16="http://schemas.microsoft.com/office/drawing/2014/main" id="{54906214-49CE-ACB9-0648-6EE563523072}"/>
              </a:ext>
            </a:extLst>
          </p:cNvPr>
          <p:cNvPicPr>
            <a:picLocks noChangeAspect="1" noChangeArrowheads="1"/>
          </p:cNvPicPr>
          <p:nvPr userDrawn="1"/>
        </p:nvPicPr>
        <p:blipFill>
          <a:blip r:embed="rId14" cstate="email">
            <a:extLst>
              <a:ext uri="{28A0092B-C50C-407E-A947-70E740481C1C}">
                <a14:useLocalDpi xmlns:a14="http://schemas.microsoft.com/office/drawing/2010/main"/>
              </a:ext>
            </a:extLst>
          </a:blip>
          <a:srcRect/>
          <a:stretch>
            <a:fillRect/>
          </a:stretch>
        </p:blipFill>
        <p:spPr bwMode="auto">
          <a:xfrm>
            <a:off x="10553752" y="249205"/>
            <a:ext cx="212675" cy="1654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3233957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6A1683-15A5-AC8B-0023-185EF4CD4AE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E"/>
          </a:p>
        </p:txBody>
      </p:sp>
      <p:sp>
        <p:nvSpPr>
          <p:cNvPr id="3" name="Content Placeholder 2">
            <a:extLst>
              <a:ext uri="{FF2B5EF4-FFF2-40B4-BE49-F238E27FC236}">
                <a16:creationId xmlns:a16="http://schemas.microsoft.com/office/drawing/2014/main" id="{156EF232-B55C-7A07-B1A0-61ECACDC554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Text Placeholder 3">
            <a:extLst>
              <a:ext uri="{FF2B5EF4-FFF2-40B4-BE49-F238E27FC236}">
                <a16:creationId xmlns:a16="http://schemas.microsoft.com/office/drawing/2014/main" id="{AB429D1F-A3D3-DD48-B7DE-FBE0EBFC03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2FB4088-F068-65A8-3DC0-AD457EF8A433}"/>
              </a:ext>
            </a:extLst>
          </p:cNvPr>
          <p:cNvSpPr>
            <a:spLocks noGrp="1"/>
          </p:cNvSpPr>
          <p:nvPr>
            <p:ph type="dt" sz="half" idx="10"/>
          </p:nvPr>
        </p:nvSpPr>
        <p:spPr/>
        <p:txBody>
          <a:bodyPr/>
          <a:lstStyle/>
          <a:p>
            <a:fld id="{AEB9CEE8-03EF-934C-9BB3-43EE3FBD04A0}" type="datetimeFigureOut">
              <a:rPr lang="en-AE" smtClean="0"/>
              <a:t>07/03/2025</a:t>
            </a:fld>
            <a:endParaRPr lang="en-AE"/>
          </a:p>
        </p:txBody>
      </p:sp>
      <p:sp>
        <p:nvSpPr>
          <p:cNvPr id="6" name="Footer Placeholder 5">
            <a:extLst>
              <a:ext uri="{FF2B5EF4-FFF2-40B4-BE49-F238E27FC236}">
                <a16:creationId xmlns:a16="http://schemas.microsoft.com/office/drawing/2014/main" id="{67289BB2-3971-D8C7-A2B9-ECD0C4A9888F}"/>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C3691C83-5703-E269-0E6D-F2FA3B271FED}"/>
              </a:ext>
            </a:extLst>
          </p:cNvPr>
          <p:cNvSpPr>
            <a:spLocks noGrp="1"/>
          </p:cNvSpPr>
          <p:nvPr>
            <p:ph type="sldNum" sz="quarter" idx="12"/>
          </p:nvPr>
        </p:nvSpPr>
        <p:spPr/>
        <p:txBody>
          <a:bodyPr/>
          <a:lstStyle/>
          <a:p>
            <a:fld id="{2C299435-1A59-6045-9ADC-B0AF759EE153}" type="slidenum">
              <a:rPr lang="en-AE" smtClean="0"/>
              <a:t>‹#›</a:t>
            </a:fld>
            <a:endParaRPr lang="en-AE"/>
          </a:p>
        </p:txBody>
      </p:sp>
    </p:spTree>
    <p:extLst>
      <p:ext uri="{BB962C8B-B14F-4D97-AF65-F5344CB8AC3E}">
        <p14:creationId xmlns:p14="http://schemas.microsoft.com/office/powerpoint/2010/main" val="36538929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4A6804-9CE2-1292-D8AB-2C8148FF424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E"/>
          </a:p>
        </p:txBody>
      </p:sp>
      <p:sp>
        <p:nvSpPr>
          <p:cNvPr id="3" name="Picture Placeholder 2">
            <a:extLst>
              <a:ext uri="{FF2B5EF4-FFF2-40B4-BE49-F238E27FC236}">
                <a16:creationId xmlns:a16="http://schemas.microsoft.com/office/drawing/2014/main" id="{8CFB2C2B-4293-CF5C-FCE2-F4831356B06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E"/>
          </a:p>
        </p:txBody>
      </p:sp>
      <p:sp>
        <p:nvSpPr>
          <p:cNvPr id="4" name="Text Placeholder 3">
            <a:extLst>
              <a:ext uri="{FF2B5EF4-FFF2-40B4-BE49-F238E27FC236}">
                <a16:creationId xmlns:a16="http://schemas.microsoft.com/office/drawing/2014/main" id="{61256B27-DDB9-021F-95BA-0C58A8AA67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A1D4328-1AFA-BA75-13D4-A73CAE233A75}"/>
              </a:ext>
            </a:extLst>
          </p:cNvPr>
          <p:cNvSpPr>
            <a:spLocks noGrp="1"/>
          </p:cNvSpPr>
          <p:nvPr>
            <p:ph type="dt" sz="half" idx="10"/>
          </p:nvPr>
        </p:nvSpPr>
        <p:spPr/>
        <p:txBody>
          <a:bodyPr/>
          <a:lstStyle/>
          <a:p>
            <a:fld id="{AEB9CEE8-03EF-934C-9BB3-43EE3FBD04A0}" type="datetimeFigureOut">
              <a:rPr lang="en-AE" smtClean="0"/>
              <a:t>07/03/2025</a:t>
            </a:fld>
            <a:endParaRPr lang="en-AE"/>
          </a:p>
        </p:txBody>
      </p:sp>
      <p:sp>
        <p:nvSpPr>
          <p:cNvPr id="6" name="Footer Placeholder 5">
            <a:extLst>
              <a:ext uri="{FF2B5EF4-FFF2-40B4-BE49-F238E27FC236}">
                <a16:creationId xmlns:a16="http://schemas.microsoft.com/office/drawing/2014/main" id="{667AA515-9328-316C-60A5-BB659F2E48CD}"/>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50D5AD6C-2764-8FF9-8C5A-1469663FA9CE}"/>
              </a:ext>
            </a:extLst>
          </p:cNvPr>
          <p:cNvSpPr>
            <a:spLocks noGrp="1"/>
          </p:cNvSpPr>
          <p:nvPr>
            <p:ph type="sldNum" sz="quarter" idx="12"/>
          </p:nvPr>
        </p:nvSpPr>
        <p:spPr/>
        <p:txBody>
          <a:bodyPr/>
          <a:lstStyle/>
          <a:p>
            <a:fld id="{2C299435-1A59-6045-9ADC-B0AF759EE153}" type="slidenum">
              <a:rPr lang="en-AE" smtClean="0"/>
              <a:t>‹#›</a:t>
            </a:fld>
            <a:endParaRPr lang="en-AE"/>
          </a:p>
        </p:txBody>
      </p:sp>
    </p:spTree>
    <p:extLst>
      <p:ext uri="{BB962C8B-B14F-4D97-AF65-F5344CB8AC3E}">
        <p14:creationId xmlns:p14="http://schemas.microsoft.com/office/powerpoint/2010/main" val="11443408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A672A-AAF5-E8B9-7CDB-04737A0397A4}"/>
              </a:ext>
            </a:extLst>
          </p:cNvPr>
          <p:cNvSpPr>
            <a:spLocks noGrp="1"/>
          </p:cNvSpPr>
          <p:nvPr>
            <p:ph type="title"/>
          </p:nvPr>
        </p:nvSpPr>
        <p:spPr/>
        <p:txBody>
          <a:bodyPr/>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B596D204-7465-276C-51C8-44EF391443F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A61A2E71-3304-09BB-B956-1045C65869B3}"/>
              </a:ext>
            </a:extLst>
          </p:cNvPr>
          <p:cNvSpPr>
            <a:spLocks noGrp="1"/>
          </p:cNvSpPr>
          <p:nvPr>
            <p:ph type="dt" sz="half" idx="10"/>
          </p:nvPr>
        </p:nvSpPr>
        <p:spPr/>
        <p:txBody>
          <a:bodyPr/>
          <a:lstStyle/>
          <a:p>
            <a:fld id="{AEB9CEE8-03EF-934C-9BB3-43EE3FBD04A0}" type="datetimeFigureOut">
              <a:rPr lang="en-AE" smtClean="0"/>
              <a:t>07/03/2025</a:t>
            </a:fld>
            <a:endParaRPr lang="en-AE"/>
          </a:p>
        </p:txBody>
      </p:sp>
      <p:sp>
        <p:nvSpPr>
          <p:cNvPr id="5" name="Footer Placeholder 4">
            <a:extLst>
              <a:ext uri="{FF2B5EF4-FFF2-40B4-BE49-F238E27FC236}">
                <a16:creationId xmlns:a16="http://schemas.microsoft.com/office/drawing/2014/main" id="{7C52236A-A18B-1640-C29E-26C949FC3170}"/>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43AD1896-0919-434F-A1B5-C7CAE80814E4}"/>
              </a:ext>
            </a:extLst>
          </p:cNvPr>
          <p:cNvSpPr>
            <a:spLocks noGrp="1"/>
          </p:cNvSpPr>
          <p:nvPr>
            <p:ph type="sldNum" sz="quarter" idx="12"/>
          </p:nvPr>
        </p:nvSpPr>
        <p:spPr/>
        <p:txBody>
          <a:bodyPr/>
          <a:lstStyle/>
          <a:p>
            <a:fld id="{2C299435-1A59-6045-9ADC-B0AF759EE153}" type="slidenum">
              <a:rPr lang="en-AE" smtClean="0"/>
              <a:t>‹#›</a:t>
            </a:fld>
            <a:endParaRPr lang="en-AE"/>
          </a:p>
        </p:txBody>
      </p:sp>
    </p:spTree>
    <p:extLst>
      <p:ext uri="{BB962C8B-B14F-4D97-AF65-F5344CB8AC3E}">
        <p14:creationId xmlns:p14="http://schemas.microsoft.com/office/powerpoint/2010/main" val="540267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9FD3F3F-604F-90AA-23B0-09093419828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E"/>
          </a:p>
        </p:txBody>
      </p:sp>
      <p:sp>
        <p:nvSpPr>
          <p:cNvPr id="3" name="Vertical Text Placeholder 2">
            <a:extLst>
              <a:ext uri="{FF2B5EF4-FFF2-40B4-BE49-F238E27FC236}">
                <a16:creationId xmlns:a16="http://schemas.microsoft.com/office/drawing/2014/main" id="{EB61878E-633E-274C-7B93-3C989762C69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5E3DF6EC-A5F9-0680-0268-B6F30536B15A}"/>
              </a:ext>
            </a:extLst>
          </p:cNvPr>
          <p:cNvSpPr>
            <a:spLocks noGrp="1"/>
          </p:cNvSpPr>
          <p:nvPr>
            <p:ph type="dt" sz="half" idx="10"/>
          </p:nvPr>
        </p:nvSpPr>
        <p:spPr/>
        <p:txBody>
          <a:bodyPr/>
          <a:lstStyle/>
          <a:p>
            <a:fld id="{AEB9CEE8-03EF-934C-9BB3-43EE3FBD04A0}" type="datetimeFigureOut">
              <a:rPr lang="en-AE" smtClean="0"/>
              <a:t>07/03/2025</a:t>
            </a:fld>
            <a:endParaRPr lang="en-AE"/>
          </a:p>
        </p:txBody>
      </p:sp>
      <p:sp>
        <p:nvSpPr>
          <p:cNvPr id="5" name="Footer Placeholder 4">
            <a:extLst>
              <a:ext uri="{FF2B5EF4-FFF2-40B4-BE49-F238E27FC236}">
                <a16:creationId xmlns:a16="http://schemas.microsoft.com/office/drawing/2014/main" id="{32FFF807-AF17-5040-3DDB-5F2FE072BF34}"/>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7B34AC79-3AAA-B295-BE44-C0FCF2160BBF}"/>
              </a:ext>
            </a:extLst>
          </p:cNvPr>
          <p:cNvSpPr>
            <a:spLocks noGrp="1"/>
          </p:cNvSpPr>
          <p:nvPr>
            <p:ph type="sldNum" sz="quarter" idx="12"/>
          </p:nvPr>
        </p:nvSpPr>
        <p:spPr/>
        <p:txBody>
          <a:bodyPr/>
          <a:lstStyle/>
          <a:p>
            <a:fld id="{2C299435-1A59-6045-9ADC-B0AF759EE153}" type="slidenum">
              <a:rPr lang="en-AE" smtClean="0"/>
              <a:t>‹#›</a:t>
            </a:fld>
            <a:endParaRPr lang="en-AE"/>
          </a:p>
        </p:txBody>
      </p:sp>
    </p:spTree>
    <p:extLst>
      <p:ext uri="{BB962C8B-B14F-4D97-AF65-F5344CB8AC3E}">
        <p14:creationId xmlns:p14="http://schemas.microsoft.com/office/powerpoint/2010/main" val="34508217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28_Custom Layout">
    <p:spTree>
      <p:nvGrpSpPr>
        <p:cNvPr id="1" name=""/>
        <p:cNvGrpSpPr/>
        <p:nvPr/>
      </p:nvGrpSpPr>
      <p:grpSpPr>
        <a:xfrm>
          <a:off x="0" y="0"/>
          <a:ext cx="0" cy="0"/>
          <a:chOff x="0" y="0"/>
          <a:chExt cx="0" cy="0"/>
        </a:xfrm>
      </p:grpSpPr>
      <p:sp>
        <p:nvSpPr>
          <p:cNvPr id="355" name="Image"/>
          <p:cNvSpPr>
            <a:spLocks noGrp="1"/>
          </p:cNvSpPr>
          <p:nvPr>
            <p:ph type="pic" sz="half" idx="21"/>
          </p:nvPr>
        </p:nvSpPr>
        <p:spPr>
          <a:xfrm>
            <a:off x="1" y="1"/>
            <a:ext cx="3935760" cy="6858001"/>
          </a:xfrm>
          <a:prstGeom prst="rect">
            <a:avLst/>
          </a:prstGeom>
        </p:spPr>
        <p:txBody>
          <a:bodyPr lIns="91439" rIns="91439"/>
          <a:lstStyle/>
          <a:p>
            <a:endParaRPr/>
          </a:p>
        </p:txBody>
      </p:sp>
      <p:sp>
        <p:nvSpPr>
          <p:cNvPr id="356" name="Rectangle"/>
          <p:cNvSpPr/>
          <p:nvPr/>
        </p:nvSpPr>
        <p:spPr>
          <a:xfrm>
            <a:off x="5267908" y="368660"/>
            <a:ext cx="2052229" cy="504057"/>
          </a:xfrm>
          <a:prstGeom prst="rect">
            <a:avLst/>
          </a:prstGeom>
          <a:solidFill>
            <a:srgbClr val="FFFFFF"/>
          </a:solidFill>
          <a:ln w="12700">
            <a:miter lim="400000"/>
          </a:ln>
        </p:spPr>
        <p:txBody>
          <a:bodyPr lIns="22860" rIns="22860"/>
          <a:lstStyle/>
          <a:p>
            <a:pPr algn="ctr"/>
            <a:endParaRPr sz="900"/>
          </a:p>
        </p:txBody>
      </p:sp>
      <p:sp>
        <p:nvSpPr>
          <p:cNvPr id="35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413157615"/>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D8906E0-08F4-4876-B807-68F1B5EBF436}"/>
              </a:ext>
            </a:extLst>
          </p:cNvPr>
          <p:cNvGraphicFramePr>
            <a:graphicFrameLocks noChangeAspect="1"/>
          </p:cNvGraphicFramePr>
          <p:nvPr userDrawn="1">
            <p:custDataLst>
              <p:tags r:id="rId1"/>
            </p:custDataLst>
            <p:extLst>
              <p:ext uri="{D42A27DB-BD31-4B8C-83A1-F6EECF244321}">
                <p14:modId xmlns:p14="http://schemas.microsoft.com/office/powerpoint/2010/main" val="3279167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8" name="Object 7" hidden="1">
                        <a:extLst>
                          <a:ext uri="{FF2B5EF4-FFF2-40B4-BE49-F238E27FC236}">
                            <a16:creationId xmlns:a16="http://schemas.microsoft.com/office/drawing/2014/main" id="{ED8906E0-08F4-4876-B807-68F1B5EBF4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5B70587-665F-411C-810A-3156713C5B4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US" sz="4400" b="0" i="0" baseline="0">
              <a:latin typeface="Sakkal Majalla" panose="02000000000000000000" pitchFamily="2" charset="-78"/>
              <a:ea typeface="+mj-ea"/>
              <a:cs typeface="Sakkal Majalla" panose="02000000000000000000" pitchFamily="2" charset="-78"/>
              <a:sym typeface="Sakkal Majalla" panose="02000000000000000000" pitchFamily="2" charset="-78"/>
            </a:endParaRPr>
          </a:p>
        </p:txBody>
      </p:sp>
      <p:sp>
        <p:nvSpPr>
          <p:cNvPr id="3" name="Date Placeholder 2">
            <a:extLst>
              <a:ext uri="{FF2B5EF4-FFF2-40B4-BE49-F238E27FC236}">
                <a16:creationId xmlns:a16="http://schemas.microsoft.com/office/drawing/2014/main" id="{CECD39E5-5FCE-D747-93A0-D9D15BB00BCA}"/>
              </a:ext>
            </a:extLst>
          </p:cNvPr>
          <p:cNvSpPr>
            <a:spLocks noGrp="1"/>
          </p:cNvSpPr>
          <p:nvPr>
            <p:ph type="dt" sz="half" idx="10"/>
          </p:nvPr>
        </p:nvSpPr>
        <p:spPr>
          <a:xfrm>
            <a:off x="838200" y="6356350"/>
            <a:ext cx="2743200" cy="365125"/>
          </a:xfrm>
          <a:prstGeom prst="rect">
            <a:avLst/>
          </a:prstGeom>
        </p:spPr>
        <p:txBody>
          <a:bodyPr/>
          <a:lstStyle>
            <a:lvl1pPr rtl="0">
              <a:defRPr>
                <a:latin typeface="Sakkal Majalla" panose="02000000000000000000" pitchFamily="2" charset="-78"/>
                <a:cs typeface="Sakkal Majalla" panose="02000000000000000000" pitchFamily="2" charset="-78"/>
                <a:sym typeface="Sakkal Majalla" panose="02000000000000000000" pitchFamily="2" charset="-78"/>
              </a:defRPr>
            </a:lvl1pPr>
          </a:lstStyle>
          <a:p>
            <a:endParaRPr lang="en-US"/>
          </a:p>
        </p:txBody>
      </p:sp>
      <p:sp>
        <p:nvSpPr>
          <p:cNvPr id="4" name="Footer Placeholder 3">
            <a:extLst>
              <a:ext uri="{FF2B5EF4-FFF2-40B4-BE49-F238E27FC236}">
                <a16:creationId xmlns:a16="http://schemas.microsoft.com/office/drawing/2014/main" id="{FC48AB6F-3B89-1644-96D9-222468400157}"/>
              </a:ext>
            </a:extLst>
          </p:cNvPr>
          <p:cNvSpPr>
            <a:spLocks noGrp="1"/>
          </p:cNvSpPr>
          <p:nvPr>
            <p:ph type="ftr" sz="quarter" idx="11"/>
          </p:nvPr>
        </p:nvSpPr>
        <p:spPr>
          <a:xfrm>
            <a:off x="4038600" y="6356350"/>
            <a:ext cx="4114800" cy="365125"/>
          </a:xfrm>
          <a:prstGeom prst="rect">
            <a:avLst/>
          </a:prstGeom>
        </p:spPr>
        <p:txBody>
          <a:bodyPr/>
          <a:lstStyle>
            <a:lvl1pPr rtl="0">
              <a:defRPr>
                <a:latin typeface="Sakkal Majalla" panose="02000000000000000000" pitchFamily="2" charset="-78"/>
                <a:cs typeface="Sakkal Majalla" panose="02000000000000000000" pitchFamily="2" charset="-78"/>
                <a:sym typeface="Sakkal Majalla" panose="02000000000000000000" pitchFamily="2" charset="-78"/>
              </a:defRPr>
            </a:lvl1pPr>
          </a:lstStyle>
          <a:p>
            <a:endParaRPr lang="en-US"/>
          </a:p>
        </p:txBody>
      </p:sp>
      <p:sp>
        <p:nvSpPr>
          <p:cNvPr id="5" name="Slide Number Placeholder 4">
            <a:extLst>
              <a:ext uri="{FF2B5EF4-FFF2-40B4-BE49-F238E27FC236}">
                <a16:creationId xmlns:a16="http://schemas.microsoft.com/office/drawing/2014/main" id="{0520C180-11D4-6D41-8F29-4D42BDEBBDEF}"/>
              </a:ext>
            </a:extLst>
          </p:cNvPr>
          <p:cNvSpPr>
            <a:spLocks noGrp="1"/>
          </p:cNvSpPr>
          <p:nvPr>
            <p:ph type="sldNum" sz="quarter" idx="12"/>
          </p:nvPr>
        </p:nvSpPr>
        <p:spPr>
          <a:xfrm>
            <a:off x="8610600" y="6356350"/>
            <a:ext cx="2743200" cy="365125"/>
          </a:xfrm>
          <a:prstGeom prst="rect">
            <a:avLst/>
          </a:prstGeom>
        </p:spPr>
        <p:txBody>
          <a:bodyPr/>
          <a:lstStyle>
            <a:lvl1pPr rtl="0">
              <a:defRPr>
                <a:latin typeface="Sakkal Majalla" panose="02000000000000000000" pitchFamily="2" charset="-78"/>
                <a:cs typeface="Sakkal Majalla" panose="02000000000000000000" pitchFamily="2" charset="-78"/>
                <a:sym typeface="Sakkal Majalla" panose="02000000000000000000" pitchFamily="2" charset="-78"/>
              </a:defRPr>
            </a:lvl1pPr>
          </a:lstStyle>
          <a:p>
            <a:fld id="{49065941-14B6-EC49-8CB8-D499C9A56864}" type="slidenum">
              <a:rPr lang="en-US" smtClean="0"/>
              <a:pPr/>
              <a:t>‹#›</a:t>
            </a:fld>
            <a:endParaRPr lang="en-US"/>
          </a:p>
        </p:txBody>
      </p:sp>
      <p:sp>
        <p:nvSpPr>
          <p:cNvPr id="6" name="Rectangle">
            <a:extLst>
              <a:ext uri="{FF2B5EF4-FFF2-40B4-BE49-F238E27FC236}">
                <a16:creationId xmlns:a16="http://schemas.microsoft.com/office/drawing/2014/main" id="{8FA6F2A6-FBE3-E649-8A1B-0A030BE0C4D2}"/>
              </a:ext>
            </a:extLst>
          </p:cNvPr>
          <p:cNvSpPr/>
          <p:nvPr userDrawn="1"/>
        </p:nvSpPr>
        <p:spPr>
          <a:xfrm>
            <a:off x="-1" y="-10654"/>
            <a:ext cx="12192002" cy="6868653"/>
          </a:xfrm>
          <a:prstGeom prst="rect">
            <a:avLst/>
          </a:prstGeom>
          <a:solidFill>
            <a:schemeClr val="bg1"/>
          </a:solidFill>
          <a:ln w="12700">
            <a:miter lim="400000"/>
          </a:ln>
        </p:spPr>
        <p:txBody>
          <a:bodyPr lIns="0" tIns="0" rIns="0" bIns="0" anchor="ctr"/>
          <a:lstStyle/>
          <a:p>
            <a:pPr defTabSz="1651000" rtl="0">
              <a:defRPr sz="6400" b="0">
                <a:solidFill>
                  <a:srgbClr val="FFFFFF"/>
                </a:solidFill>
                <a:latin typeface="+mn-lt"/>
                <a:ea typeface="+mn-ea"/>
                <a:cs typeface="+mn-cs"/>
                <a:sym typeface="Helvetica Neue Medium"/>
              </a:defRPr>
            </a:pPr>
            <a:endParaRPr lang="en-US" sz="6400">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16" name="Slide Number Placeholder 12">
            <a:extLst>
              <a:ext uri="{FF2B5EF4-FFF2-40B4-BE49-F238E27FC236}">
                <a16:creationId xmlns:a16="http://schemas.microsoft.com/office/drawing/2014/main" id="{1F87C71A-A110-4393-A462-D052389255A8}"/>
              </a:ext>
            </a:extLst>
          </p:cNvPr>
          <p:cNvSpPr txBox="1">
            <a:spLocks/>
          </p:cNvSpPr>
          <p:nvPr userDrawn="1"/>
        </p:nvSpPr>
        <p:spPr>
          <a:xfrm>
            <a:off x="11644745" y="6492875"/>
            <a:ext cx="547255" cy="365125"/>
          </a:xfrm>
          <a:prstGeom prst="rect">
            <a:avLst/>
          </a:prstGeom>
        </p:spPr>
        <p:txBody>
          <a:bodyPr/>
          <a:lstStyle>
            <a:defPPr>
              <a:defRPr lang="en-US"/>
            </a:defPPr>
            <a:lvl1pPr marL="0" algn="ctr" defTabSz="914400" rtl="0" eaLnBrk="1" latinLnBrk="0" hangingPunct="1">
              <a:defRPr sz="1400" kern="1200">
                <a:solidFill>
                  <a:schemeClr val="tx1"/>
                </a:solidFill>
                <a:latin typeface="ITC Avant Garde Std Bk" panose="020B0502020202020204" pitchFamily="34" charset="0"/>
                <a:ea typeface="+mn-ea"/>
                <a:cs typeface="+mn-cs"/>
                <a:sym typeface="ITC Avant Garde Std Bk" panose="020B0502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9065941-14B6-EC49-8CB8-D499C9A56864}" type="slidenum">
              <a:rPr lang="en-US" smtClean="0">
                <a:latin typeface="Sakkal Majalla" panose="02000000000000000000" pitchFamily="2" charset="-78"/>
                <a:cs typeface="Sakkal Majalla" panose="02000000000000000000" pitchFamily="2" charset="-78"/>
                <a:sym typeface="Sakkal Majalla" panose="02000000000000000000" pitchFamily="2" charset="-78"/>
              </a:rPr>
              <a:pPr/>
              <a:t>‹#›</a:t>
            </a:fld>
            <a:endParaRPr lang="en-US">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13" name="Title 2">
            <a:extLst>
              <a:ext uri="{FF2B5EF4-FFF2-40B4-BE49-F238E27FC236}">
                <a16:creationId xmlns:a16="http://schemas.microsoft.com/office/drawing/2014/main" id="{6328C3D8-B065-43D5-B626-DB4A9FE32B53}"/>
              </a:ext>
            </a:extLst>
          </p:cNvPr>
          <p:cNvSpPr txBox="1">
            <a:spLocks/>
          </p:cNvSpPr>
          <p:nvPr userDrawn="1"/>
        </p:nvSpPr>
        <p:spPr>
          <a:xfrm>
            <a:off x="450759" y="441325"/>
            <a:ext cx="10540331" cy="1092437"/>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en-US"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noProof="0">
              <a:ln>
                <a:noFill/>
              </a:ln>
              <a:solidFill>
                <a:srgbClr val="575757"/>
              </a:solidFill>
              <a:effectLst/>
              <a:uLnTx/>
              <a:uFillTx/>
              <a:latin typeface="Sakkal Majalla" panose="02000000000000000000" pitchFamily="2" charset="-78"/>
              <a:ea typeface="+mj-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41055037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12192000" y="0"/>
          <a:ext cx="0" cy="0"/>
          <a:chOff x="1219200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73184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a:extLst>
              <a:ext uri="{FF2B5EF4-FFF2-40B4-BE49-F238E27FC236}">
                <a16:creationId xmlns:a16="http://schemas.microsoft.com/office/drawing/2014/main" id="{9D308F7C-03D9-4253-BAB7-F814E8C55FCB}"/>
              </a:ext>
            </a:extLst>
          </p:cNvPr>
          <p:cNvSpPr/>
          <p:nvPr userDrawn="1"/>
        </p:nvSpPr>
        <p:spPr>
          <a:xfrm>
            <a:off x="-1587" y="0"/>
            <a:ext cx="12193588" cy="6858000"/>
          </a:xfrm>
          <a:prstGeom prst="rect">
            <a:avLst/>
          </a:prstGeom>
          <a:solidFill>
            <a:schemeClr val="bg1"/>
          </a:solidFill>
          <a:ln w="12700">
            <a:miter lim="400000"/>
          </a:ln>
        </p:spPr>
        <p:txBody>
          <a:bodyPr lIns="0" tIns="0" rIns="0" bIns="0" anchor="ctr"/>
          <a:lstStyle/>
          <a:p>
            <a:pPr algn="r" defTabSz="1651000" rtl="1">
              <a:defRPr sz="6400" b="0">
                <a:solidFill>
                  <a:srgbClr val="FFFFFF"/>
                </a:solidFill>
                <a:latin typeface="+mn-lt"/>
                <a:ea typeface="+mn-ea"/>
                <a:cs typeface="+mn-cs"/>
                <a:sym typeface="Helvetica Neue Medium"/>
              </a:defRPr>
            </a:pPr>
            <a:endParaRPr lang="en-US" sz="6400">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r" rtl="1" eaLnBrk="1">
              <a:lnSpc>
                <a:spcPct val="93000"/>
              </a:lnSpc>
              <a:spcBef>
                <a:spcPct val="0"/>
              </a:spcBef>
              <a:spcAft>
                <a:spcPct val="0"/>
              </a:spcAft>
            </a:pPr>
            <a:endParaRPr lang="en-US" sz="5400" b="0" i="0" baseline="0">
              <a:solidFill>
                <a:srgbClr val="FFFFFF"/>
              </a:solidFill>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13" name="ADVANCED SCIENCES…">
            <a:extLst>
              <a:ext uri="{FF2B5EF4-FFF2-40B4-BE49-F238E27FC236}">
                <a16:creationId xmlns:a16="http://schemas.microsoft.com/office/drawing/2014/main" id="{790AD93C-7F57-491B-A2FB-616509F1D407}"/>
              </a:ext>
            </a:extLst>
          </p:cNvPr>
          <p:cNvSpPr/>
          <p:nvPr userDrawn="1"/>
        </p:nvSpPr>
        <p:spPr>
          <a:xfrm>
            <a:off x="1116012" y="6058489"/>
            <a:ext cx="5530850" cy="430883"/>
          </a:xfrm>
          <a:prstGeom prst="rect">
            <a:avLst/>
          </a:prstGeom>
          <a:ln w="12700">
            <a:miter lim="400000"/>
          </a:ln>
          <a:extLst>
            <a:ext uri="{C572A759-6A51-4108-AA02-DFA0A04FC94B}">
              <ma14:wrappingTextBoxFlag xmlns:ma14="http://schemas.microsoft.com/office/mac/drawingml/2011/main" xmlns="" val="1"/>
            </a:ext>
          </a:extLst>
        </p:spPr>
        <p:txBody>
          <a:bodyPr wrap="square" lIns="91438" tIns="91438" rIns="91438" bIns="91438">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23" name="ADVANCED SCIENCES…">
            <a:extLst>
              <a:ext uri="{FF2B5EF4-FFF2-40B4-BE49-F238E27FC236}">
                <a16:creationId xmlns:a16="http://schemas.microsoft.com/office/drawing/2014/main" id="{5593F91F-1B7F-46AD-91A0-1160B936B49A}"/>
              </a:ext>
            </a:extLst>
          </p:cNvPr>
          <p:cNvSpPr/>
          <p:nvPr userDrawn="1"/>
        </p:nvSpPr>
        <p:spPr>
          <a:xfrm>
            <a:off x="1116012" y="4329961"/>
            <a:ext cx="9699625" cy="902807"/>
          </a:xfrm>
          <a:prstGeom prst="rect">
            <a:avLst/>
          </a:prstGeom>
          <a:ln w="12700">
            <a:miter lim="400000"/>
          </a:ln>
          <a:extLst>
            <a:ext uri="{C572A759-6A51-4108-AA02-DFA0A04FC94B}">
              <ma14:wrappingTextBoxFlag xmlns:ma14="http://schemas.microsoft.com/office/mac/drawingml/2011/main" xmlns="" val="1"/>
            </a:ext>
          </a:extLst>
        </p:spPr>
        <p:txBody>
          <a:bodyPr wrap="square" lIns="91438" tIns="91438" rIns="91438" bIns="91438" anchor="t">
            <a:spAutoFit/>
          </a:bodyPr>
          <a:lstStyle/>
          <a:p>
            <a:pPr marL="0" marR="0" lvl="0" indent="0" algn="r" defTabSz="914400" rtl="1" eaLnBrk="1" fontAlgn="auto" latinLnBrk="0" hangingPunct="1">
              <a:lnSpc>
                <a:spcPts val="5600"/>
              </a:lnSpc>
              <a:spcBef>
                <a:spcPts val="0"/>
              </a:spcBef>
              <a:spcAft>
                <a:spcPts val="0"/>
              </a:spcAft>
              <a:buClrTx/>
              <a:buSzTx/>
              <a:buFontTx/>
              <a:buNone/>
              <a:tabLst/>
              <a:defRPr/>
            </a:pPr>
            <a:endParaRPr kumimoji="0" lang="ar-DZ" sz="4700" b="1" i="0" u="none" strike="noStrike" kern="1200" cap="none" spc="0" normalizeH="0" baseline="0" noProof="0">
              <a:ln>
                <a:noFill/>
              </a:ln>
              <a:solidFill>
                <a:srgbClr val="FFFFFF"/>
              </a:solidFill>
              <a:effectLst/>
              <a:uLnTx/>
              <a:uFillTx/>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24" name="ADVANCED SCIENCES…">
            <a:extLst>
              <a:ext uri="{FF2B5EF4-FFF2-40B4-BE49-F238E27FC236}">
                <a16:creationId xmlns:a16="http://schemas.microsoft.com/office/drawing/2014/main" id="{75F0FF29-65DD-495C-A9D9-0C3130A8916A}"/>
              </a:ext>
            </a:extLst>
          </p:cNvPr>
          <p:cNvSpPr/>
          <p:nvPr userDrawn="1"/>
        </p:nvSpPr>
        <p:spPr>
          <a:xfrm>
            <a:off x="1116012" y="5498830"/>
            <a:ext cx="5530850" cy="430883"/>
          </a:xfrm>
          <a:prstGeom prst="rect">
            <a:avLst/>
          </a:prstGeom>
          <a:ln w="12700">
            <a:miter lim="400000"/>
          </a:ln>
          <a:extLst>
            <a:ext uri="{C572A759-6A51-4108-AA02-DFA0A04FC94B}">
              <ma14:wrappingTextBoxFlag xmlns:ma14="http://schemas.microsoft.com/office/mac/drawingml/2011/main" xmlns="" val="1"/>
            </a:ext>
          </a:extLst>
        </p:spPr>
        <p:txBody>
          <a:bodyPr wrap="square" lIns="91438" tIns="91438" rIns="91438" bIns="91438">
            <a:sp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akkal Majalla" panose="02000000000000000000" pitchFamily="2" charset="-78"/>
              <a:cs typeface="Sakkal Majalla" panose="02000000000000000000" pitchFamily="2" charset="-78"/>
              <a:sym typeface="Sakkal Majalla" panose="02000000000000000000" pitchFamily="2" charset="-78"/>
            </a:endParaRPr>
          </a:p>
        </p:txBody>
      </p:sp>
      <p:pic>
        <p:nvPicPr>
          <p:cNvPr id="2" name="Picture 1" descr="A white wavy paper on a white background&#10;&#10;Description automatically generated">
            <a:extLst>
              <a:ext uri="{FF2B5EF4-FFF2-40B4-BE49-F238E27FC236}">
                <a16:creationId xmlns:a16="http://schemas.microsoft.com/office/drawing/2014/main" id="{FF489087-0720-7793-D732-A260CEE83C4C}"/>
              </a:ext>
            </a:extLst>
          </p:cNvPr>
          <p:cNvPicPr>
            <a:picLocks noChangeAspect="1"/>
          </p:cNvPicPr>
          <p:nvPr userDrawn="1"/>
        </p:nvPicPr>
        <p:blipFill rotWithShape="1">
          <a:blip r:embed="rId6" cstate="email">
            <a:alphaModFix amt="50000"/>
            <a:extLst>
              <a:ext uri="{BEBA8EAE-BF5A-486C-A8C5-ECC9F3942E4B}">
                <a14:imgProps xmlns:a14="http://schemas.microsoft.com/office/drawing/2010/main">
                  <a14:imgLayer r:embed="rId7">
                    <a14:imgEffect>
                      <a14:saturation sat="395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40653010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C537FF-F25B-65E2-BBCD-75ADEAB34D8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E"/>
          </a:p>
        </p:txBody>
      </p:sp>
      <p:sp>
        <p:nvSpPr>
          <p:cNvPr id="3" name="Subtitle 2">
            <a:extLst>
              <a:ext uri="{FF2B5EF4-FFF2-40B4-BE49-F238E27FC236}">
                <a16:creationId xmlns:a16="http://schemas.microsoft.com/office/drawing/2014/main" id="{34EB9B5A-85BF-6293-4FA3-579AE919B2F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E"/>
          </a:p>
        </p:txBody>
      </p:sp>
      <p:sp>
        <p:nvSpPr>
          <p:cNvPr id="4" name="Date Placeholder 3">
            <a:extLst>
              <a:ext uri="{FF2B5EF4-FFF2-40B4-BE49-F238E27FC236}">
                <a16:creationId xmlns:a16="http://schemas.microsoft.com/office/drawing/2014/main" id="{5B2A7D89-0D81-BBD4-6167-5E66E3AB6F74}"/>
              </a:ext>
            </a:extLst>
          </p:cNvPr>
          <p:cNvSpPr>
            <a:spLocks noGrp="1"/>
          </p:cNvSpPr>
          <p:nvPr>
            <p:ph type="dt" sz="half" idx="10"/>
          </p:nvPr>
        </p:nvSpPr>
        <p:spPr/>
        <p:txBody>
          <a:bodyPr/>
          <a:lstStyle/>
          <a:p>
            <a:fld id="{AEB9CEE8-03EF-934C-9BB3-43EE3FBD04A0}" type="datetimeFigureOut">
              <a:rPr lang="en-AE" smtClean="0"/>
              <a:t>07/03/2025</a:t>
            </a:fld>
            <a:endParaRPr lang="en-AE"/>
          </a:p>
        </p:txBody>
      </p:sp>
      <p:sp>
        <p:nvSpPr>
          <p:cNvPr id="5" name="Footer Placeholder 4">
            <a:extLst>
              <a:ext uri="{FF2B5EF4-FFF2-40B4-BE49-F238E27FC236}">
                <a16:creationId xmlns:a16="http://schemas.microsoft.com/office/drawing/2014/main" id="{AE7D38B3-3DAD-70DC-C879-D24D5F148B59}"/>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E80898C7-66D7-BDB3-F25B-1749D780761E}"/>
              </a:ext>
            </a:extLst>
          </p:cNvPr>
          <p:cNvSpPr>
            <a:spLocks noGrp="1"/>
          </p:cNvSpPr>
          <p:nvPr>
            <p:ph type="sldNum" sz="quarter" idx="12"/>
          </p:nvPr>
        </p:nvSpPr>
        <p:spPr/>
        <p:txBody>
          <a:bodyPr/>
          <a:lstStyle/>
          <a:p>
            <a:fld id="{2C299435-1A59-6045-9ADC-B0AF759EE153}" type="slidenum">
              <a:rPr lang="en-AE" smtClean="0"/>
              <a:t>‹#›</a:t>
            </a:fld>
            <a:endParaRPr lang="en-AE"/>
          </a:p>
        </p:txBody>
      </p:sp>
    </p:spTree>
    <p:extLst>
      <p:ext uri="{BB962C8B-B14F-4D97-AF65-F5344CB8AC3E}">
        <p14:creationId xmlns:p14="http://schemas.microsoft.com/office/powerpoint/2010/main" val="3732441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1BA69-A7F5-FC8B-277F-50FEC0C5BE8A}"/>
              </a:ext>
            </a:extLst>
          </p:cNvPr>
          <p:cNvSpPr>
            <a:spLocks noGrp="1"/>
          </p:cNvSpPr>
          <p:nvPr>
            <p:ph type="title"/>
          </p:nvPr>
        </p:nvSpPr>
        <p:spPr/>
        <p:txBody>
          <a:bodyPr/>
          <a:lstStyle/>
          <a:p>
            <a:r>
              <a:rPr lang="en-US"/>
              <a:t>Click to edit Master title style</a:t>
            </a:r>
            <a:endParaRPr lang="en-AE"/>
          </a:p>
        </p:txBody>
      </p:sp>
      <p:sp>
        <p:nvSpPr>
          <p:cNvPr id="3" name="Content Placeholder 2">
            <a:extLst>
              <a:ext uri="{FF2B5EF4-FFF2-40B4-BE49-F238E27FC236}">
                <a16:creationId xmlns:a16="http://schemas.microsoft.com/office/drawing/2014/main" id="{10078E9C-0C65-F489-ACDE-F586B8C73E0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D4DD0FFF-F73A-F389-E244-BD182E646583}"/>
              </a:ext>
            </a:extLst>
          </p:cNvPr>
          <p:cNvSpPr>
            <a:spLocks noGrp="1"/>
          </p:cNvSpPr>
          <p:nvPr>
            <p:ph type="dt" sz="half" idx="10"/>
          </p:nvPr>
        </p:nvSpPr>
        <p:spPr/>
        <p:txBody>
          <a:bodyPr/>
          <a:lstStyle/>
          <a:p>
            <a:fld id="{AEB9CEE8-03EF-934C-9BB3-43EE3FBD04A0}" type="datetimeFigureOut">
              <a:rPr lang="en-AE" smtClean="0"/>
              <a:t>07/03/2025</a:t>
            </a:fld>
            <a:endParaRPr lang="en-AE"/>
          </a:p>
        </p:txBody>
      </p:sp>
      <p:sp>
        <p:nvSpPr>
          <p:cNvPr id="5" name="Footer Placeholder 4">
            <a:extLst>
              <a:ext uri="{FF2B5EF4-FFF2-40B4-BE49-F238E27FC236}">
                <a16:creationId xmlns:a16="http://schemas.microsoft.com/office/drawing/2014/main" id="{00AA8E4C-02B0-0D99-65D4-D55EBA9D013A}"/>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45459B96-DF19-7018-2A1A-ECA538BD7EEC}"/>
              </a:ext>
            </a:extLst>
          </p:cNvPr>
          <p:cNvSpPr>
            <a:spLocks noGrp="1"/>
          </p:cNvSpPr>
          <p:nvPr>
            <p:ph type="sldNum" sz="quarter" idx="12"/>
          </p:nvPr>
        </p:nvSpPr>
        <p:spPr/>
        <p:txBody>
          <a:bodyPr/>
          <a:lstStyle/>
          <a:p>
            <a:fld id="{2C299435-1A59-6045-9ADC-B0AF759EE153}" type="slidenum">
              <a:rPr lang="en-AE" smtClean="0"/>
              <a:t>‹#›</a:t>
            </a:fld>
            <a:endParaRPr lang="en-AE"/>
          </a:p>
        </p:txBody>
      </p:sp>
    </p:spTree>
    <p:extLst>
      <p:ext uri="{BB962C8B-B14F-4D97-AF65-F5344CB8AC3E}">
        <p14:creationId xmlns:p14="http://schemas.microsoft.com/office/powerpoint/2010/main" val="3504427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864F24-091B-943A-35F1-CEAA20E85D3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E"/>
          </a:p>
        </p:txBody>
      </p:sp>
      <p:sp>
        <p:nvSpPr>
          <p:cNvPr id="3" name="Text Placeholder 2">
            <a:extLst>
              <a:ext uri="{FF2B5EF4-FFF2-40B4-BE49-F238E27FC236}">
                <a16:creationId xmlns:a16="http://schemas.microsoft.com/office/drawing/2014/main" id="{CAB92563-9AEB-777D-48CB-B912AE26200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387550-D797-2DF0-259A-DB10690FDDE2}"/>
              </a:ext>
            </a:extLst>
          </p:cNvPr>
          <p:cNvSpPr>
            <a:spLocks noGrp="1"/>
          </p:cNvSpPr>
          <p:nvPr>
            <p:ph type="dt" sz="half" idx="10"/>
          </p:nvPr>
        </p:nvSpPr>
        <p:spPr/>
        <p:txBody>
          <a:bodyPr/>
          <a:lstStyle/>
          <a:p>
            <a:fld id="{AEB9CEE8-03EF-934C-9BB3-43EE3FBD04A0}" type="datetimeFigureOut">
              <a:rPr lang="en-AE" smtClean="0"/>
              <a:t>07/03/2025</a:t>
            </a:fld>
            <a:endParaRPr lang="en-AE"/>
          </a:p>
        </p:txBody>
      </p:sp>
      <p:sp>
        <p:nvSpPr>
          <p:cNvPr id="5" name="Footer Placeholder 4">
            <a:extLst>
              <a:ext uri="{FF2B5EF4-FFF2-40B4-BE49-F238E27FC236}">
                <a16:creationId xmlns:a16="http://schemas.microsoft.com/office/drawing/2014/main" id="{06DD8BB9-B718-0D44-A8B1-CE18128EAD4F}"/>
              </a:ext>
            </a:extLst>
          </p:cNvPr>
          <p:cNvSpPr>
            <a:spLocks noGrp="1"/>
          </p:cNvSpPr>
          <p:nvPr>
            <p:ph type="ftr" sz="quarter" idx="11"/>
          </p:nvPr>
        </p:nvSpPr>
        <p:spPr/>
        <p:txBody>
          <a:bodyPr/>
          <a:lstStyle/>
          <a:p>
            <a:endParaRPr lang="en-AE"/>
          </a:p>
        </p:txBody>
      </p:sp>
      <p:sp>
        <p:nvSpPr>
          <p:cNvPr id="6" name="Slide Number Placeholder 5">
            <a:extLst>
              <a:ext uri="{FF2B5EF4-FFF2-40B4-BE49-F238E27FC236}">
                <a16:creationId xmlns:a16="http://schemas.microsoft.com/office/drawing/2014/main" id="{57FC6672-C31C-EF1F-E1EF-82E5840828D3}"/>
              </a:ext>
            </a:extLst>
          </p:cNvPr>
          <p:cNvSpPr>
            <a:spLocks noGrp="1"/>
          </p:cNvSpPr>
          <p:nvPr>
            <p:ph type="sldNum" sz="quarter" idx="12"/>
          </p:nvPr>
        </p:nvSpPr>
        <p:spPr/>
        <p:txBody>
          <a:bodyPr/>
          <a:lstStyle/>
          <a:p>
            <a:fld id="{2C299435-1A59-6045-9ADC-B0AF759EE153}" type="slidenum">
              <a:rPr lang="en-AE" smtClean="0"/>
              <a:t>‹#›</a:t>
            </a:fld>
            <a:endParaRPr lang="en-AE"/>
          </a:p>
        </p:txBody>
      </p:sp>
    </p:spTree>
    <p:extLst>
      <p:ext uri="{BB962C8B-B14F-4D97-AF65-F5344CB8AC3E}">
        <p14:creationId xmlns:p14="http://schemas.microsoft.com/office/powerpoint/2010/main" val="31059102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D15B6-E597-FDB5-BC6A-F35590B98871}"/>
              </a:ext>
            </a:extLst>
          </p:cNvPr>
          <p:cNvSpPr>
            <a:spLocks noGrp="1"/>
          </p:cNvSpPr>
          <p:nvPr>
            <p:ph type="title"/>
          </p:nvPr>
        </p:nvSpPr>
        <p:spPr/>
        <p:txBody>
          <a:bodyPr/>
          <a:lstStyle/>
          <a:p>
            <a:r>
              <a:rPr lang="en-US"/>
              <a:t>Click to edit Master title style</a:t>
            </a:r>
            <a:endParaRPr lang="en-AE"/>
          </a:p>
        </p:txBody>
      </p:sp>
      <p:sp>
        <p:nvSpPr>
          <p:cNvPr id="3" name="Content Placeholder 2">
            <a:extLst>
              <a:ext uri="{FF2B5EF4-FFF2-40B4-BE49-F238E27FC236}">
                <a16:creationId xmlns:a16="http://schemas.microsoft.com/office/drawing/2014/main" id="{798FDA2D-CEBF-96DE-5D1F-42B2AD3225E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Content Placeholder 3">
            <a:extLst>
              <a:ext uri="{FF2B5EF4-FFF2-40B4-BE49-F238E27FC236}">
                <a16:creationId xmlns:a16="http://schemas.microsoft.com/office/drawing/2014/main" id="{687258E7-3144-7C67-AABA-D76156BAABA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5" name="Date Placeholder 4">
            <a:extLst>
              <a:ext uri="{FF2B5EF4-FFF2-40B4-BE49-F238E27FC236}">
                <a16:creationId xmlns:a16="http://schemas.microsoft.com/office/drawing/2014/main" id="{0E966B50-81D4-9AFD-2056-4D4C8CDEA795}"/>
              </a:ext>
            </a:extLst>
          </p:cNvPr>
          <p:cNvSpPr>
            <a:spLocks noGrp="1"/>
          </p:cNvSpPr>
          <p:nvPr>
            <p:ph type="dt" sz="half" idx="10"/>
          </p:nvPr>
        </p:nvSpPr>
        <p:spPr/>
        <p:txBody>
          <a:bodyPr/>
          <a:lstStyle/>
          <a:p>
            <a:fld id="{AEB9CEE8-03EF-934C-9BB3-43EE3FBD04A0}" type="datetimeFigureOut">
              <a:rPr lang="en-AE" smtClean="0"/>
              <a:t>07/03/2025</a:t>
            </a:fld>
            <a:endParaRPr lang="en-AE"/>
          </a:p>
        </p:txBody>
      </p:sp>
      <p:sp>
        <p:nvSpPr>
          <p:cNvPr id="6" name="Footer Placeholder 5">
            <a:extLst>
              <a:ext uri="{FF2B5EF4-FFF2-40B4-BE49-F238E27FC236}">
                <a16:creationId xmlns:a16="http://schemas.microsoft.com/office/drawing/2014/main" id="{43F5FB6A-BE56-E481-36BD-666B70D25944}"/>
              </a:ext>
            </a:extLst>
          </p:cNvPr>
          <p:cNvSpPr>
            <a:spLocks noGrp="1"/>
          </p:cNvSpPr>
          <p:nvPr>
            <p:ph type="ftr" sz="quarter" idx="11"/>
          </p:nvPr>
        </p:nvSpPr>
        <p:spPr/>
        <p:txBody>
          <a:bodyPr/>
          <a:lstStyle/>
          <a:p>
            <a:endParaRPr lang="en-AE"/>
          </a:p>
        </p:txBody>
      </p:sp>
      <p:sp>
        <p:nvSpPr>
          <p:cNvPr id="7" name="Slide Number Placeholder 6">
            <a:extLst>
              <a:ext uri="{FF2B5EF4-FFF2-40B4-BE49-F238E27FC236}">
                <a16:creationId xmlns:a16="http://schemas.microsoft.com/office/drawing/2014/main" id="{56853C56-9AC4-74CE-BF04-35985E627D07}"/>
              </a:ext>
            </a:extLst>
          </p:cNvPr>
          <p:cNvSpPr>
            <a:spLocks noGrp="1"/>
          </p:cNvSpPr>
          <p:nvPr>
            <p:ph type="sldNum" sz="quarter" idx="12"/>
          </p:nvPr>
        </p:nvSpPr>
        <p:spPr/>
        <p:txBody>
          <a:bodyPr/>
          <a:lstStyle/>
          <a:p>
            <a:fld id="{2C299435-1A59-6045-9ADC-B0AF759EE153}" type="slidenum">
              <a:rPr lang="en-AE" smtClean="0"/>
              <a:t>‹#›</a:t>
            </a:fld>
            <a:endParaRPr lang="en-AE"/>
          </a:p>
        </p:txBody>
      </p:sp>
    </p:spTree>
    <p:extLst>
      <p:ext uri="{BB962C8B-B14F-4D97-AF65-F5344CB8AC3E}">
        <p14:creationId xmlns:p14="http://schemas.microsoft.com/office/powerpoint/2010/main" val="35183913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EA51C-BC7C-EDC4-17D9-0025CAE04547}"/>
              </a:ext>
            </a:extLst>
          </p:cNvPr>
          <p:cNvSpPr>
            <a:spLocks noGrp="1"/>
          </p:cNvSpPr>
          <p:nvPr>
            <p:ph type="title"/>
          </p:nvPr>
        </p:nvSpPr>
        <p:spPr>
          <a:xfrm>
            <a:off x="839788" y="365125"/>
            <a:ext cx="10515600" cy="1325563"/>
          </a:xfrm>
        </p:spPr>
        <p:txBody>
          <a:bodyPr/>
          <a:lstStyle/>
          <a:p>
            <a:r>
              <a:rPr lang="en-US"/>
              <a:t>Click to edit Master title style</a:t>
            </a:r>
            <a:endParaRPr lang="en-AE"/>
          </a:p>
        </p:txBody>
      </p:sp>
      <p:sp>
        <p:nvSpPr>
          <p:cNvPr id="3" name="Text Placeholder 2">
            <a:extLst>
              <a:ext uri="{FF2B5EF4-FFF2-40B4-BE49-F238E27FC236}">
                <a16:creationId xmlns:a16="http://schemas.microsoft.com/office/drawing/2014/main" id="{D7BAE7A3-F054-2378-3B4D-EFB45616036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A176D51-1FA7-D4BD-98FD-61EDFCF0BA6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5" name="Text Placeholder 4">
            <a:extLst>
              <a:ext uri="{FF2B5EF4-FFF2-40B4-BE49-F238E27FC236}">
                <a16:creationId xmlns:a16="http://schemas.microsoft.com/office/drawing/2014/main" id="{2631917C-024A-CF7E-1795-1F363D99216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69FB8C5-110E-6D1D-078B-ADE23CF8039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7" name="Date Placeholder 6">
            <a:extLst>
              <a:ext uri="{FF2B5EF4-FFF2-40B4-BE49-F238E27FC236}">
                <a16:creationId xmlns:a16="http://schemas.microsoft.com/office/drawing/2014/main" id="{D2EAE40C-11B5-625E-B875-2F25139CC611}"/>
              </a:ext>
            </a:extLst>
          </p:cNvPr>
          <p:cNvSpPr>
            <a:spLocks noGrp="1"/>
          </p:cNvSpPr>
          <p:nvPr>
            <p:ph type="dt" sz="half" idx="10"/>
          </p:nvPr>
        </p:nvSpPr>
        <p:spPr/>
        <p:txBody>
          <a:bodyPr/>
          <a:lstStyle/>
          <a:p>
            <a:fld id="{AEB9CEE8-03EF-934C-9BB3-43EE3FBD04A0}" type="datetimeFigureOut">
              <a:rPr lang="en-AE" smtClean="0"/>
              <a:t>07/03/2025</a:t>
            </a:fld>
            <a:endParaRPr lang="en-AE"/>
          </a:p>
        </p:txBody>
      </p:sp>
      <p:sp>
        <p:nvSpPr>
          <p:cNvPr id="8" name="Footer Placeholder 7">
            <a:extLst>
              <a:ext uri="{FF2B5EF4-FFF2-40B4-BE49-F238E27FC236}">
                <a16:creationId xmlns:a16="http://schemas.microsoft.com/office/drawing/2014/main" id="{8BB54EBE-0192-33C5-1954-9898D491F12C}"/>
              </a:ext>
            </a:extLst>
          </p:cNvPr>
          <p:cNvSpPr>
            <a:spLocks noGrp="1"/>
          </p:cNvSpPr>
          <p:nvPr>
            <p:ph type="ftr" sz="quarter" idx="11"/>
          </p:nvPr>
        </p:nvSpPr>
        <p:spPr/>
        <p:txBody>
          <a:bodyPr/>
          <a:lstStyle/>
          <a:p>
            <a:endParaRPr lang="en-AE"/>
          </a:p>
        </p:txBody>
      </p:sp>
      <p:sp>
        <p:nvSpPr>
          <p:cNvPr id="9" name="Slide Number Placeholder 8">
            <a:extLst>
              <a:ext uri="{FF2B5EF4-FFF2-40B4-BE49-F238E27FC236}">
                <a16:creationId xmlns:a16="http://schemas.microsoft.com/office/drawing/2014/main" id="{1E606546-E49D-D012-B728-BDAF01BF914A}"/>
              </a:ext>
            </a:extLst>
          </p:cNvPr>
          <p:cNvSpPr>
            <a:spLocks noGrp="1"/>
          </p:cNvSpPr>
          <p:nvPr>
            <p:ph type="sldNum" sz="quarter" idx="12"/>
          </p:nvPr>
        </p:nvSpPr>
        <p:spPr/>
        <p:txBody>
          <a:bodyPr/>
          <a:lstStyle/>
          <a:p>
            <a:fld id="{2C299435-1A59-6045-9ADC-B0AF759EE153}" type="slidenum">
              <a:rPr lang="en-AE" smtClean="0"/>
              <a:t>‹#›</a:t>
            </a:fld>
            <a:endParaRPr lang="en-AE"/>
          </a:p>
        </p:txBody>
      </p:sp>
    </p:spTree>
    <p:extLst>
      <p:ext uri="{BB962C8B-B14F-4D97-AF65-F5344CB8AC3E}">
        <p14:creationId xmlns:p14="http://schemas.microsoft.com/office/powerpoint/2010/main" val="1253825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58C5FB-C174-61A2-2EC3-B05B4E862CFE}"/>
              </a:ext>
            </a:extLst>
          </p:cNvPr>
          <p:cNvSpPr>
            <a:spLocks noGrp="1"/>
          </p:cNvSpPr>
          <p:nvPr>
            <p:ph type="title"/>
          </p:nvPr>
        </p:nvSpPr>
        <p:spPr/>
        <p:txBody>
          <a:bodyPr/>
          <a:lstStyle/>
          <a:p>
            <a:r>
              <a:rPr lang="en-US"/>
              <a:t>Click to edit Master title style</a:t>
            </a:r>
            <a:endParaRPr lang="en-AE"/>
          </a:p>
        </p:txBody>
      </p:sp>
      <p:sp>
        <p:nvSpPr>
          <p:cNvPr id="3" name="Date Placeholder 2">
            <a:extLst>
              <a:ext uri="{FF2B5EF4-FFF2-40B4-BE49-F238E27FC236}">
                <a16:creationId xmlns:a16="http://schemas.microsoft.com/office/drawing/2014/main" id="{E43D1AB2-1D38-7A7F-8897-DB2497B09B82}"/>
              </a:ext>
            </a:extLst>
          </p:cNvPr>
          <p:cNvSpPr>
            <a:spLocks noGrp="1"/>
          </p:cNvSpPr>
          <p:nvPr>
            <p:ph type="dt" sz="half" idx="10"/>
          </p:nvPr>
        </p:nvSpPr>
        <p:spPr/>
        <p:txBody>
          <a:bodyPr/>
          <a:lstStyle/>
          <a:p>
            <a:fld id="{AEB9CEE8-03EF-934C-9BB3-43EE3FBD04A0}" type="datetimeFigureOut">
              <a:rPr lang="en-AE" smtClean="0"/>
              <a:t>07/03/2025</a:t>
            </a:fld>
            <a:endParaRPr lang="en-AE"/>
          </a:p>
        </p:txBody>
      </p:sp>
      <p:sp>
        <p:nvSpPr>
          <p:cNvPr id="4" name="Footer Placeholder 3">
            <a:extLst>
              <a:ext uri="{FF2B5EF4-FFF2-40B4-BE49-F238E27FC236}">
                <a16:creationId xmlns:a16="http://schemas.microsoft.com/office/drawing/2014/main" id="{4266750C-6490-6783-379D-94EB924FF309}"/>
              </a:ext>
            </a:extLst>
          </p:cNvPr>
          <p:cNvSpPr>
            <a:spLocks noGrp="1"/>
          </p:cNvSpPr>
          <p:nvPr>
            <p:ph type="ftr" sz="quarter" idx="11"/>
          </p:nvPr>
        </p:nvSpPr>
        <p:spPr/>
        <p:txBody>
          <a:bodyPr/>
          <a:lstStyle/>
          <a:p>
            <a:endParaRPr lang="en-AE"/>
          </a:p>
        </p:txBody>
      </p:sp>
      <p:sp>
        <p:nvSpPr>
          <p:cNvPr id="5" name="Slide Number Placeholder 4">
            <a:extLst>
              <a:ext uri="{FF2B5EF4-FFF2-40B4-BE49-F238E27FC236}">
                <a16:creationId xmlns:a16="http://schemas.microsoft.com/office/drawing/2014/main" id="{3128F6A2-7B57-05A8-EDD3-E9F4699356F5}"/>
              </a:ext>
            </a:extLst>
          </p:cNvPr>
          <p:cNvSpPr>
            <a:spLocks noGrp="1"/>
          </p:cNvSpPr>
          <p:nvPr>
            <p:ph type="sldNum" sz="quarter" idx="12"/>
          </p:nvPr>
        </p:nvSpPr>
        <p:spPr/>
        <p:txBody>
          <a:bodyPr/>
          <a:lstStyle/>
          <a:p>
            <a:fld id="{2C299435-1A59-6045-9ADC-B0AF759EE153}" type="slidenum">
              <a:rPr lang="en-AE" smtClean="0"/>
              <a:t>‹#›</a:t>
            </a:fld>
            <a:endParaRPr lang="en-AE"/>
          </a:p>
        </p:txBody>
      </p:sp>
    </p:spTree>
    <p:extLst>
      <p:ext uri="{BB962C8B-B14F-4D97-AF65-F5344CB8AC3E}">
        <p14:creationId xmlns:p14="http://schemas.microsoft.com/office/powerpoint/2010/main" val="14292307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13DEF6-FE0E-AA8C-27A8-B9B665A076D0}"/>
              </a:ext>
            </a:extLst>
          </p:cNvPr>
          <p:cNvSpPr>
            <a:spLocks noGrp="1"/>
          </p:cNvSpPr>
          <p:nvPr>
            <p:ph type="dt" sz="half" idx="10"/>
          </p:nvPr>
        </p:nvSpPr>
        <p:spPr/>
        <p:txBody>
          <a:bodyPr/>
          <a:lstStyle/>
          <a:p>
            <a:fld id="{AEB9CEE8-03EF-934C-9BB3-43EE3FBD04A0}" type="datetimeFigureOut">
              <a:rPr lang="en-AE" smtClean="0"/>
              <a:t>07/03/2025</a:t>
            </a:fld>
            <a:endParaRPr lang="en-AE"/>
          </a:p>
        </p:txBody>
      </p:sp>
      <p:sp>
        <p:nvSpPr>
          <p:cNvPr id="3" name="Footer Placeholder 2">
            <a:extLst>
              <a:ext uri="{FF2B5EF4-FFF2-40B4-BE49-F238E27FC236}">
                <a16:creationId xmlns:a16="http://schemas.microsoft.com/office/drawing/2014/main" id="{0CC4821D-F0F2-ED67-6767-5D71544F30FE}"/>
              </a:ext>
            </a:extLst>
          </p:cNvPr>
          <p:cNvSpPr>
            <a:spLocks noGrp="1"/>
          </p:cNvSpPr>
          <p:nvPr>
            <p:ph type="ftr" sz="quarter" idx="11"/>
          </p:nvPr>
        </p:nvSpPr>
        <p:spPr/>
        <p:txBody>
          <a:bodyPr/>
          <a:lstStyle/>
          <a:p>
            <a:endParaRPr lang="en-AE"/>
          </a:p>
        </p:txBody>
      </p:sp>
      <p:sp>
        <p:nvSpPr>
          <p:cNvPr id="4" name="Slide Number Placeholder 3">
            <a:extLst>
              <a:ext uri="{FF2B5EF4-FFF2-40B4-BE49-F238E27FC236}">
                <a16:creationId xmlns:a16="http://schemas.microsoft.com/office/drawing/2014/main" id="{0B02C988-8D3F-FD47-8B7E-CCE3C2933F0A}"/>
              </a:ext>
            </a:extLst>
          </p:cNvPr>
          <p:cNvSpPr>
            <a:spLocks noGrp="1"/>
          </p:cNvSpPr>
          <p:nvPr>
            <p:ph type="sldNum" sz="quarter" idx="12"/>
          </p:nvPr>
        </p:nvSpPr>
        <p:spPr/>
        <p:txBody>
          <a:bodyPr/>
          <a:lstStyle/>
          <a:p>
            <a:fld id="{2C299435-1A59-6045-9ADC-B0AF759EE153}" type="slidenum">
              <a:rPr lang="en-AE" smtClean="0"/>
              <a:t>‹#›</a:t>
            </a:fld>
            <a:endParaRPr lang="en-AE"/>
          </a:p>
        </p:txBody>
      </p:sp>
    </p:spTree>
    <p:extLst>
      <p:ext uri="{BB962C8B-B14F-4D97-AF65-F5344CB8AC3E}">
        <p14:creationId xmlns:p14="http://schemas.microsoft.com/office/powerpoint/2010/main" val="99769011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svg"/><Relationship Id="rId2" Type="http://schemas.openxmlformats.org/officeDocument/2006/relationships/tags" Target="../tags/tag1.xml"/><Relationship Id="rId1" Type="http://schemas.openxmlformats.org/officeDocument/2006/relationships/theme" Target="../theme/theme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12192000" y="0"/>
          <a:ext cx="0" cy="0"/>
          <a:chOff x="12192000" y="0"/>
          <a:chExt cx="0" cy="0"/>
        </a:xfrm>
      </p:grpSpPr>
      <p:graphicFrame>
        <p:nvGraphicFramePr>
          <p:cNvPr id="9" name="Object 8" hidden="1">
            <a:extLst>
              <a:ext uri="{FF2B5EF4-FFF2-40B4-BE49-F238E27FC236}">
                <a16:creationId xmlns:a16="http://schemas.microsoft.com/office/drawing/2014/main" id="{9C7E61AE-1103-40EB-A43A-D10AB7381657}"/>
              </a:ext>
            </a:extLst>
          </p:cNvPr>
          <p:cNvGraphicFramePr>
            <a:graphicFrameLocks noChangeAspect="1"/>
          </p:cNvGraphicFramePr>
          <p:nvPr userDrawn="1">
            <p:custDataLst>
              <p:tags r:id="rId2"/>
            </p:custDataLst>
            <p:extLst>
              <p:ext uri="{D42A27DB-BD31-4B8C-83A1-F6EECF244321}">
                <p14:modId xmlns:p14="http://schemas.microsoft.com/office/powerpoint/2010/main" val="2009895714"/>
              </p:ext>
            </p:ext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9" name="Object 8" hidden="1">
                        <a:extLst>
                          <a:ext uri="{FF2B5EF4-FFF2-40B4-BE49-F238E27FC236}">
                            <a16:creationId xmlns:a16="http://schemas.microsoft.com/office/drawing/2014/main" id="{9C7E61AE-1103-40EB-A43A-D10AB7381657}"/>
                          </a:ext>
                        </a:extLst>
                      </p:cNvPr>
                      <p:cNvPicPr/>
                      <p:nvPr/>
                    </p:nvPicPr>
                    <p:blipFill>
                      <a:blip r:embed="rId5"/>
                      <a:stretch>
                        <a:fillRect/>
                      </a:stretch>
                    </p:blipFill>
                    <p:spPr>
                      <a:xfrm>
                        <a:off x="12188824"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83CDC21-0469-4870-9C4D-8F4EA1F1AC56}"/>
              </a:ext>
            </a:extLst>
          </p:cNvPr>
          <p:cNvSpPr/>
          <p:nvPr userDrawn="1">
            <p:custDataLst>
              <p:tags r:id="rId3"/>
            </p:custDataLst>
          </p:nvPr>
        </p:nvSpPr>
        <p:spPr>
          <a:xfrm flipH="1">
            <a:off x="1203325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r" rtl="1"/>
            <a:endParaRPr lang="en-US" sz="4400" b="0" i="0" baseline="0">
              <a:latin typeface="Sakkal Majalla" panose="02000000000000000000" pitchFamily="2" charset="-78"/>
              <a:ea typeface="+mj-ea"/>
              <a:cs typeface="Sakkal Majalla" panose="02000000000000000000" pitchFamily="2" charset="-78"/>
              <a:sym typeface="Sakkal Majalla" panose="02000000000000000000" pitchFamily="2" charset="-78"/>
            </a:endParaRPr>
          </a:p>
        </p:txBody>
      </p:sp>
      <p:sp>
        <p:nvSpPr>
          <p:cNvPr id="12" name="Slide Number Placeholder 12">
            <a:extLst>
              <a:ext uri="{FF2B5EF4-FFF2-40B4-BE49-F238E27FC236}">
                <a16:creationId xmlns:a16="http://schemas.microsoft.com/office/drawing/2014/main" id="{00ECDA25-96AC-4845-9F08-89B21DA9AC5C}"/>
              </a:ext>
            </a:extLst>
          </p:cNvPr>
          <p:cNvSpPr>
            <a:spLocks noGrp="1"/>
          </p:cNvSpPr>
          <p:nvPr>
            <p:ph type="sldNum" sz="quarter" idx="4"/>
          </p:nvPr>
        </p:nvSpPr>
        <p:spPr>
          <a:xfrm flipH="1">
            <a:off x="0" y="6492875"/>
            <a:ext cx="547255" cy="365125"/>
          </a:xfrm>
          <a:prstGeom prst="rect">
            <a:avLst/>
          </a:prstGeom>
        </p:spPr>
        <p:txBody>
          <a:bodyPr/>
          <a:lstStyle>
            <a:lvl1pPr algn="ctr" rtl="0">
              <a:defRPr sz="1400">
                <a:latin typeface="Sakkal Majalla" panose="02000000000000000000" pitchFamily="2" charset="-78"/>
                <a:cs typeface="Sakkal Majalla" panose="02000000000000000000" pitchFamily="2" charset="-78"/>
                <a:sym typeface="Sakkal Majalla" panose="02000000000000000000" pitchFamily="2" charset="-78"/>
              </a:defRPr>
            </a:lvl1pPr>
          </a:lstStyle>
          <a:p>
            <a:fld id="{49065941-14B6-EC49-8CB8-D499C9A56864}" type="slidenum">
              <a:rPr lang="en-US" smtClean="0"/>
              <a:pPr/>
              <a:t>‹#›</a:t>
            </a:fld>
            <a:endParaRPr lang="en-US"/>
          </a:p>
        </p:txBody>
      </p:sp>
      <p:sp>
        <p:nvSpPr>
          <p:cNvPr id="14" name="Rectangle 13">
            <a:extLst>
              <a:ext uri="{FF2B5EF4-FFF2-40B4-BE49-F238E27FC236}">
                <a16:creationId xmlns:a16="http://schemas.microsoft.com/office/drawing/2014/main" id="{F5396D35-5CC5-4635-9BBF-14B1364677B0}"/>
              </a:ext>
            </a:extLst>
          </p:cNvPr>
          <p:cNvSpPr/>
          <p:nvPr userDrawn="1"/>
        </p:nvSpPr>
        <p:spPr>
          <a:xfrm flipH="1">
            <a:off x="0" y="-1"/>
            <a:ext cx="12192000" cy="6889289"/>
          </a:xfrm>
          <a:prstGeom prst="rect">
            <a:avLst/>
          </a:prstGeom>
          <a:gradFill flip="none" rotWithShape="1">
            <a:gsLst>
              <a:gs pos="0">
                <a:srgbClr val="E6E6E6">
                  <a:shade val="30000"/>
                  <a:satMod val="115000"/>
                  <a:alpha val="31000"/>
                </a:srgbClr>
              </a:gs>
              <a:gs pos="50000">
                <a:srgbClr val="E6E6E6">
                  <a:shade val="67500"/>
                  <a:satMod val="115000"/>
                  <a:alpha val="31000"/>
                </a:srgbClr>
              </a:gs>
              <a:gs pos="100000">
                <a:srgbClr val="E6E6E6">
                  <a:shade val="100000"/>
                  <a:satMod val="115000"/>
                  <a:alpha val="26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70C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pic>
        <p:nvPicPr>
          <p:cNvPr id="15" name="Graphic 14">
            <a:extLst>
              <a:ext uri="{FF2B5EF4-FFF2-40B4-BE49-F238E27FC236}">
                <a16:creationId xmlns:a16="http://schemas.microsoft.com/office/drawing/2014/main" id="{4E0C821D-14BD-4BFA-B166-A7F209D0F84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2994" y="1604241"/>
            <a:ext cx="12192000" cy="5084770"/>
          </a:xfrm>
          <a:prstGeom prst="rect">
            <a:avLst/>
          </a:prstGeom>
        </p:spPr>
      </p:pic>
      <p:sp>
        <p:nvSpPr>
          <p:cNvPr id="8" name="Title 2">
            <a:extLst>
              <a:ext uri="{FF2B5EF4-FFF2-40B4-BE49-F238E27FC236}">
                <a16:creationId xmlns:a16="http://schemas.microsoft.com/office/drawing/2014/main" id="{8FEDC616-389D-400E-B801-88DE18F495EA}"/>
              </a:ext>
            </a:extLst>
          </p:cNvPr>
          <p:cNvSpPr txBox="1">
            <a:spLocks/>
          </p:cNvSpPr>
          <p:nvPr userDrawn="1"/>
        </p:nvSpPr>
        <p:spPr>
          <a:xfrm flipH="1">
            <a:off x="1200910" y="441325"/>
            <a:ext cx="10540331" cy="1092437"/>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en-US"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r" defTabSz="914400" rtl="1"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noProof="0">
              <a:ln>
                <a:noFill/>
              </a:ln>
              <a:solidFill>
                <a:srgbClr val="575757"/>
              </a:solidFill>
              <a:effectLst/>
              <a:uLnTx/>
              <a:uFillTx/>
              <a:latin typeface="Sakkal Majalla" panose="02000000000000000000" pitchFamily="2" charset="-78"/>
              <a:ea typeface="+mj-ea"/>
              <a:cs typeface="Sakkal Majalla" panose="02000000000000000000" pitchFamily="2" charset="-78"/>
              <a:sym typeface="Sakkal Majalla" panose="02000000000000000000" pitchFamily="2" charset="-78"/>
            </a:endParaRPr>
          </a:p>
        </p:txBody>
      </p:sp>
    </p:spTree>
    <p:extLst>
      <p:ext uri="{BB962C8B-B14F-4D97-AF65-F5344CB8AC3E}">
        <p14:creationId xmlns:p14="http://schemas.microsoft.com/office/powerpoint/2010/main" val="3207560906"/>
      </p:ext>
    </p:extLst>
  </p:cSld>
  <p:clrMap bg1="lt1" tx1="dk1" bg2="lt2" tx2="dk2" accent1="accent1" accent2="accent2" accent3="accent3" accent4="accent4" accent5="accent5" accent6="accent6" hlink="hlink" folHlink="folHlink"/>
  <p:hf hdr="0" ftr="0" dt="0"/>
  <p:txStyles>
    <p:titleStyle>
      <a:lvl1pPr algn="l" defTabSz="914400" rtl="0" eaLnBrk="1" latinLnBrk="0" hangingPunct="1">
        <a:lnSpc>
          <a:spcPct val="90000"/>
        </a:lnSpc>
        <a:spcBef>
          <a:spcPct val="0"/>
        </a:spcBef>
        <a:buNone/>
        <a:defRPr sz="4400" kern="1200">
          <a:solidFill>
            <a:schemeClr val="tx1"/>
          </a:solidFill>
          <a:latin typeface="ITC Avant Garde Std Bk" panose="020B0502020202020204" pitchFamily="34" charset="0"/>
          <a:ea typeface="+mj-ea"/>
          <a:cs typeface="+mj-cs"/>
          <a:sym typeface="ITC Avant Garde Std Bk" panose="020B0502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ITC Avant Garde Std Bk" panose="020B0502020202020204" pitchFamily="34" charset="0"/>
          <a:ea typeface="+mn-ea"/>
          <a:cs typeface="+mn-cs"/>
          <a:sym typeface="ITC Avant Garde Std Bk" panose="020B0502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ITC Avant Garde Std Bk" panose="020B0502020202020204" pitchFamily="34" charset="0"/>
          <a:ea typeface="+mn-ea"/>
          <a:cs typeface="+mn-cs"/>
          <a:sym typeface="ITC Avant Garde Std Bk" panose="020B0502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ITC Avant Garde Std Bk" panose="020B0502020202020204" pitchFamily="34" charset="0"/>
          <a:ea typeface="+mn-ea"/>
          <a:cs typeface="+mn-cs"/>
          <a:sym typeface="ITC Avant Garde Std Bk" panose="020B0502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ITC Avant Garde Std Bk" panose="020B0502020202020204" pitchFamily="34" charset="0"/>
          <a:ea typeface="+mn-ea"/>
          <a:cs typeface="+mn-cs"/>
          <a:sym typeface="ITC Avant Garde Std Bk" panose="020B0502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ITC Avant Garde Std Bk" panose="020B0502020202020204" pitchFamily="34" charset="0"/>
          <a:ea typeface="+mn-ea"/>
          <a:cs typeface="+mn-cs"/>
          <a:sym typeface="ITC Avant Garde Std Bk" panose="020B0502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3FDD71F-AA96-C4E9-0D87-027D4801004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E"/>
          </a:p>
        </p:txBody>
      </p:sp>
      <p:sp>
        <p:nvSpPr>
          <p:cNvPr id="3" name="Text Placeholder 2">
            <a:extLst>
              <a:ext uri="{FF2B5EF4-FFF2-40B4-BE49-F238E27FC236}">
                <a16:creationId xmlns:a16="http://schemas.microsoft.com/office/drawing/2014/main" id="{58E4FD38-4D17-98DB-5CE8-AF3D0AA1495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4" name="Date Placeholder 3">
            <a:extLst>
              <a:ext uri="{FF2B5EF4-FFF2-40B4-BE49-F238E27FC236}">
                <a16:creationId xmlns:a16="http://schemas.microsoft.com/office/drawing/2014/main" id="{439DDBC1-25EC-10D3-E7E5-C912DF97E6B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EB9CEE8-03EF-934C-9BB3-43EE3FBD04A0}" type="datetimeFigureOut">
              <a:rPr lang="en-AE" smtClean="0"/>
              <a:t>07/03/2025</a:t>
            </a:fld>
            <a:endParaRPr lang="en-AE"/>
          </a:p>
        </p:txBody>
      </p:sp>
      <p:sp>
        <p:nvSpPr>
          <p:cNvPr id="5" name="Footer Placeholder 4">
            <a:extLst>
              <a:ext uri="{FF2B5EF4-FFF2-40B4-BE49-F238E27FC236}">
                <a16:creationId xmlns:a16="http://schemas.microsoft.com/office/drawing/2014/main" id="{C3C2863D-53CD-6B40-1804-A433484EC05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E"/>
          </a:p>
        </p:txBody>
      </p:sp>
      <p:sp>
        <p:nvSpPr>
          <p:cNvPr id="6" name="Slide Number Placeholder 5">
            <a:extLst>
              <a:ext uri="{FF2B5EF4-FFF2-40B4-BE49-F238E27FC236}">
                <a16:creationId xmlns:a16="http://schemas.microsoft.com/office/drawing/2014/main" id="{B16066D2-0340-B16E-776E-F5947BFD3DA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299435-1A59-6045-9ADC-B0AF759EE153}" type="slidenum">
              <a:rPr lang="en-AE" smtClean="0"/>
              <a:t>‹#›</a:t>
            </a:fld>
            <a:endParaRPr lang="en-AE"/>
          </a:p>
        </p:txBody>
      </p:sp>
    </p:spTree>
    <p:extLst>
      <p:ext uri="{BB962C8B-B14F-4D97-AF65-F5344CB8AC3E}">
        <p14:creationId xmlns:p14="http://schemas.microsoft.com/office/powerpoint/2010/main" val="172480484"/>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9" r:id="rId14"/>
    <p:sldLayoutId id="2147483710"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A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18.png"/><Relationship Id="rId3" Type="http://schemas.openxmlformats.org/officeDocument/2006/relationships/notesSlide" Target="../notesSlides/notesSlide1.xml"/><Relationship Id="rId7" Type="http://schemas.openxmlformats.org/officeDocument/2006/relationships/image" Target="../media/image15.png"/><Relationship Id="rId12" Type="http://schemas.openxmlformats.org/officeDocument/2006/relationships/image" Target="../media/image17.jpeg"/><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4.png"/><Relationship Id="rId11" Type="http://schemas.openxmlformats.org/officeDocument/2006/relationships/image" Target="../media/image11.png"/><Relationship Id="rId5" Type="http://schemas.openxmlformats.org/officeDocument/2006/relationships/image" Target="../media/image13.emf"/><Relationship Id="rId10" Type="http://schemas.openxmlformats.org/officeDocument/2006/relationships/image" Target="../media/image10.png"/><Relationship Id="rId4" Type="http://schemas.openxmlformats.org/officeDocument/2006/relationships/oleObject" Target="../embeddings/oleObject4.bin"/><Relationship Id="rId9" Type="http://schemas.openxmlformats.org/officeDocument/2006/relationships/image" Target="../media/image9.png"/></Relationships>
</file>

<file path=ppt/slides/_rels/slide10.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5.png"/><Relationship Id="rId3" Type="http://schemas.openxmlformats.org/officeDocument/2006/relationships/tags" Target="../tags/tag27.xml"/><Relationship Id="rId7" Type="http://schemas.openxmlformats.org/officeDocument/2006/relationships/image" Target="../media/image13.emf"/><Relationship Id="rId12" Type="http://schemas.openxmlformats.org/officeDocument/2006/relationships/image" Target="../media/image10.png"/><Relationship Id="rId2" Type="http://schemas.openxmlformats.org/officeDocument/2006/relationships/tags" Target="../tags/tag26.xml"/><Relationship Id="rId1" Type="http://schemas.openxmlformats.org/officeDocument/2006/relationships/customXml" Target="../../customXml/item13.xml"/><Relationship Id="rId6" Type="http://schemas.openxmlformats.org/officeDocument/2006/relationships/oleObject" Target="../embeddings/oleObject5.bin"/><Relationship Id="rId11" Type="http://schemas.openxmlformats.org/officeDocument/2006/relationships/image" Target="../media/image34.png"/><Relationship Id="rId5" Type="http://schemas.openxmlformats.org/officeDocument/2006/relationships/notesSlide" Target="../notesSlides/notesSlide10.xml"/><Relationship Id="rId15" Type="http://schemas.openxmlformats.org/officeDocument/2006/relationships/image" Target="../media/image38.png"/><Relationship Id="rId10" Type="http://schemas.openxmlformats.org/officeDocument/2006/relationships/image" Target="../media/image9.png"/><Relationship Id="rId4" Type="http://schemas.openxmlformats.org/officeDocument/2006/relationships/slideLayout" Target="../slideLayouts/slideLayout1.xml"/><Relationship Id="rId9" Type="http://schemas.openxmlformats.org/officeDocument/2006/relationships/image" Target="../media/image36.jpeg"/><Relationship Id="rId14" Type="http://schemas.openxmlformats.org/officeDocument/2006/relationships/image" Target="../media/image37.png"/></Relationships>
</file>

<file path=ppt/slides/_rels/slide11.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3.emf"/><Relationship Id="rId2" Type="http://schemas.openxmlformats.org/officeDocument/2006/relationships/tags" Target="../tags/tag28.xml"/><Relationship Id="rId1" Type="http://schemas.openxmlformats.org/officeDocument/2006/relationships/customXml" Target="../../customXml/item14.xml"/><Relationship Id="rId6" Type="http://schemas.openxmlformats.org/officeDocument/2006/relationships/oleObject" Target="../embeddings/oleObject5.bin"/><Relationship Id="rId5" Type="http://schemas.openxmlformats.org/officeDocument/2006/relationships/notesSlide" Target="../notesSlides/notesSlide11.xml"/><Relationship Id="rId4"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31.xml"/><Relationship Id="rId7" Type="http://schemas.openxmlformats.org/officeDocument/2006/relationships/image" Target="../media/image13.emf"/><Relationship Id="rId2" Type="http://schemas.openxmlformats.org/officeDocument/2006/relationships/tags" Target="../tags/tag30.xml"/><Relationship Id="rId1" Type="http://schemas.openxmlformats.org/officeDocument/2006/relationships/customXml" Target="../../customXml/item15.xml"/><Relationship Id="rId6" Type="http://schemas.openxmlformats.org/officeDocument/2006/relationships/oleObject" Target="../embeddings/oleObject5.bin"/><Relationship Id="rId5" Type="http://schemas.openxmlformats.org/officeDocument/2006/relationships/notesSlide" Target="../notesSlides/notesSlide12.xml"/><Relationship Id="rId4" Type="http://schemas.openxmlformats.org/officeDocument/2006/relationships/slideLayout" Target="../slideLayouts/slideLayout1.xml"/><Relationship Id="rId9"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microsoft.com/office/2007/relationships/hdphoto" Target="../media/hdphoto2.wdp"/><Relationship Id="rId2" Type="http://schemas.openxmlformats.org/officeDocument/2006/relationships/slideLayout" Target="../slideLayouts/slideLayout1.xml"/><Relationship Id="rId1" Type="http://schemas.openxmlformats.org/officeDocument/2006/relationships/tags" Target="../tags/tag32.xml"/><Relationship Id="rId6" Type="http://schemas.openxmlformats.org/officeDocument/2006/relationships/image" Target="../media/image39.png"/><Relationship Id="rId5" Type="http://schemas.openxmlformats.org/officeDocument/2006/relationships/image" Target="../media/image13.emf"/><Relationship Id="rId4" Type="http://schemas.openxmlformats.org/officeDocument/2006/relationships/oleObject" Target="../embeddings/oleObject4.bin"/></Relationships>
</file>

<file path=ppt/slides/_rels/slide1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58.png"/><Relationship Id="rId3" Type="http://schemas.openxmlformats.org/officeDocument/2006/relationships/image" Target="../media/image43.emf"/><Relationship Id="rId7" Type="http://schemas.openxmlformats.org/officeDocument/2006/relationships/image" Target="../media/image47.png"/><Relationship Id="rId12" Type="http://schemas.openxmlformats.org/officeDocument/2006/relationships/image" Target="../media/image52.png"/><Relationship Id="rId17" Type="http://schemas.openxmlformats.org/officeDocument/2006/relationships/image" Target="../media/image57.png"/><Relationship Id="rId2" Type="http://schemas.openxmlformats.org/officeDocument/2006/relationships/image" Target="../media/image42.emf"/><Relationship Id="rId16" Type="http://schemas.openxmlformats.org/officeDocument/2006/relationships/image" Target="../media/image56.png"/><Relationship Id="rId1" Type="http://schemas.openxmlformats.org/officeDocument/2006/relationships/slideLayout" Target="../slideLayouts/slideLayout1.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5" Type="http://schemas.openxmlformats.org/officeDocument/2006/relationships/image" Target="../media/image55.png"/><Relationship Id="rId10" Type="http://schemas.openxmlformats.org/officeDocument/2006/relationships/image" Target="../media/image50.png"/><Relationship Id="rId19" Type="http://schemas.openxmlformats.org/officeDocument/2006/relationships/image" Target="../media/image59.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4.gif"/></Relationships>
</file>

<file path=ppt/slides/_rels/slide19.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svg"/><Relationship Id="rId3" Type="http://schemas.openxmlformats.org/officeDocument/2006/relationships/image" Target="../media/image61.svg"/><Relationship Id="rId7" Type="http://schemas.openxmlformats.org/officeDocument/2006/relationships/image" Target="../media/image65.svg"/><Relationship Id="rId12" Type="http://schemas.openxmlformats.org/officeDocument/2006/relationships/image" Target="../media/image70.png"/><Relationship Id="rId2" Type="http://schemas.openxmlformats.org/officeDocument/2006/relationships/image" Target="../media/image60.png"/><Relationship Id="rId16" Type="http://schemas.openxmlformats.org/officeDocument/2006/relationships/image" Target="../media/image45.png"/><Relationship Id="rId1" Type="http://schemas.openxmlformats.org/officeDocument/2006/relationships/slideLayout" Target="../slideLayouts/slideLayout1.xml"/><Relationship Id="rId6" Type="http://schemas.openxmlformats.org/officeDocument/2006/relationships/image" Target="../media/image64.png"/><Relationship Id="rId11" Type="http://schemas.openxmlformats.org/officeDocument/2006/relationships/image" Target="../media/image69.svg"/><Relationship Id="rId5" Type="http://schemas.openxmlformats.org/officeDocument/2006/relationships/image" Target="../media/image63.svg"/><Relationship Id="rId15" Type="http://schemas.openxmlformats.org/officeDocument/2006/relationships/image" Target="../media/image73.sv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svg"/><Relationship Id="rId14" Type="http://schemas.openxmlformats.org/officeDocument/2006/relationships/image" Target="../media/image72.png"/></Relationships>
</file>

<file path=ppt/slides/_rels/slide2.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11.xml"/><Relationship Id="rId7" Type="http://schemas.openxmlformats.org/officeDocument/2006/relationships/image" Target="../media/image13.emf"/><Relationship Id="rId2" Type="http://schemas.openxmlformats.org/officeDocument/2006/relationships/tags" Target="../tags/tag10.xml"/><Relationship Id="rId1" Type="http://schemas.openxmlformats.org/officeDocument/2006/relationships/customXml" Target="../../customXml/item5.xml"/><Relationship Id="rId6" Type="http://schemas.openxmlformats.org/officeDocument/2006/relationships/oleObject" Target="../embeddings/oleObject5.bin"/><Relationship Id="rId5" Type="http://schemas.openxmlformats.org/officeDocument/2006/relationships/notesSlide" Target="../notesSlides/notesSlide2.xml"/><Relationship Id="rId4" Type="http://schemas.openxmlformats.org/officeDocument/2006/relationships/slideLayout" Target="../slideLayouts/slideLayout1.xml"/><Relationship Id="rId9" Type="http://schemas.openxmlformats.org/officeDocument/2006/relationships/image" Target="../media/image18.png"/></Relationships>
</file>

<file path=ppt/slides/_rels/slide20.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75.svg"/><Relationship Id="rId7" Type="http://schemas.openxmlformats.org/officeDocument/2006/relationships/image" Target="../media/image79.svg"/><Relationship Id="rId2" Type="http://schemas.openxmlformats.org/officeDocument/2006/relationships/image" Target="../media/image74.png"/><Relationship Id="rId1" Type="http://schemas.openxmlformats.org/officeDocument/2006/relationships/slideLayout" Target="../slideLayouts/slideLayout1.xml"/><Relationship Id="rId6" Type="http://schemas.openxmlformats.org/officeDocument/2006/relationships/image" Target="../media/image78.png"/><Relationship Id="rId11" Type="http://schemas.openxmlformats.org/officeDocument/2006/relationships/image" Target="../media/image82.svg"/><Relationship Id="rId5" Type="http://schemas.openxmlformats.org/officeDocument/2006/relationships/image" Target="../media/image77.svg"/><Relationship Id="rId10" Type="http://schemas.openxmlformats.org/officeDocument/2006/relationships/image" Target="../media/image81.png"/><Relationship Id="rId4" Type="http://schemas.openxmlformats.org/officeDocument/2006/relationships/image" Target="../media/image76.png"/><Relationship Id="rId9" Type="http://schemas.openxmlformats.org/officeDocument/2006/relationships/image" Target="../media/image80.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34.xml"/><Relationship Id="rId7" Type="http://schemas.openxmlformats.org/officeDocument/2006/relationships/image" Target="../media/image13.emf"/><Relationship Id="rId2" Type="http://schemas.openxmlformats.org/officeDocument/2006/relationships/tags" Target="../tags/tag33.xml"/><Relationship Id="rId1" Type="http://schemas.openxmlformats.org/officeDocument/2006/relationships/customXml" Target="../../customXml/item16.xml"/><Relationship Id="rId6" Type="http://schemas.openxmlformats.org/officeDocument/2006/relationships/oleObject" Target="../embeddings/oleObject5.bin"/><Relationship Id="rId5" Type="http://schemas.openxmlformats.org/officeDocument/2006/relationships/notesSlide" Target="../notesSlides/notesSlide14.xml"/><Relationship Id="rId4" Type="http://schemas.openxmlformats.org/officeDocument/2006/relationships/slideLayout" Target="../slideLayouts/slideLayout1.xml"/><Relationship Id="rId9" Type="http://schemas.openxmlformats.org/officeDocument/2006/relationships/image" Target="../media/image18.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microsoft.com/office/2007/relationships/hdphoto" Target="../media/hdphoto3.wdp"/><Relationship Id="rId2" Type="http://schemas.openxmlformats.org/officeDocument/2006/relationships/slideLayout" Target="../slideLayouts/slideLayout1.xml"/><Relationship Id="rId1" Type="http://schemas.openxmlformats.org/officeDocument/2006/relationships/tags" Target="../tags/tag35.xml"/><Relationship Id="rId6" Type="http://schemas.openxmlformats.org/officeDocument/2006/relationships/image" Target="../media/image85.png"/><Relationship Id="rId5" Type="http://schemas.openxmlformats.org/officeDocument/2006/relationships/image" Target="../media/image13.emf"/><Relationship Id="rId4" Type="http://schemas.openxmlformats.org/officeDocument/2006/relationships/oleObject" Target="../embeddings/oleObject4.bin"/></Relationships>
</file>

<file path=ppt/slides/_rels/slide2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1.xml"/><Relationship Id="rId4" Type="http://schemas.microsoft.com/office/2007/relationships/hdphoto" Target="../media/hdphoto4.wdp"/></Relationships>
</file>

<file path=ppt/slides/_rels/slide3.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3.emf"/><Relationship Id="rId2" Type="http://schemas.openxmlformats.org/officeDocument/2006/relationships/tags" Target="../tags/tag12.xml"/><Relationship Id="rId1" Type="http://schemas.openxmlformats.org/officeDocument/2006/relationships/customXml" Target="../../customXml/item6.xml"/><Relationship Id="rId6" Type="http://schemas.openxmlformats.org/officeDocument/2006/relationships/oleObject" Target="../embeddings/oleObject5.bin"/><Relationship Id="rId5" Type="http://schemas.openxmlformats.org/officeDocument/2006/relationships/notesSlide" Target="../notesSlides/notesSlide3.xml"/><Relationship Id="rId4"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xml"/><Relationship Id="rId4" Type="http://schemas.openxmlformats.org/officeDocument/2006/relationships/image" Target="../media/image90.png"/></Relationships>
</file>

<file path=ppt/slides/_rels/slide31.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svg"/><Relationship Id="rId18" Type="http://schemas.openxmlformats.org/officeDocument/2006/relationships/image" Target="../media/image106.png"/><Relationship Id="rId3" Type="http://schemas.microsoft.com/office/2007/relationships/hdphoto" Target="../media/hdphoto5.wdp"/><Relationship Id="rId7" Type="http://schemas.openxmlformats.org/officeDocument/2006/relationships/image" Target="../media/image95.svg"/><Relationship Id="rId12" Type="http://schemas.openxmlformats.org/officeDocument/2006/relationships/image" Target="../media/image100.png"/><Relationship Id="rId17" Type="http://schemas.openxmlformats.org/officeDocument/2006/relationships/image" Target="../media/image105.svg"/><Relationship Id="rId2" Type="http://schemas.openxmlformats.org/officeDocument/2006/relationships/image" Target="../media/image91.png"/><Relationship Id="rId16" Type="http://schemas.openxmlformats.org/officeDocument/2006/relationships/image" Target="../media/image104.png"/><Relationship Id="rId20" Type="http://schemas.openxmlformats.org/officeDocument/2006/relationships/image" Target="../media/image108.emf"/><Relationship Id="rId1" Type="http://schemas.openxmlformats.org/officeDocument/2006/relationships/slideLayout" Target="../slideLayouts/slideLayout1.xml"/><Relationship Id="rId6" Type="http://schemas.openxmlformats.org/officeDocument/2006/relationships/image" Target="../media/image94.png"/><Relationship Id="rId11" Type="http://schemas.openxmlformats.org/officeDocument/2006/relationships/image" Target="../media/image99.svg"/><Relationship Id="rId5" Type="http://schemas.openxmlformats.org/officeDocument/2006/relationships/image" Target="../media/image93.svg"/><Relationship Id="rId15" Type="http://schemas.openxmlformats.org/officeDocument/2006/relationships/image" Target="../media/image103.svg"/><Relationship Id="rId10" Type="http://schemas.openxmlformats.org/officeDocument/2006/relationships/image" Target="../media/image98.png"/><Relationship Id="rId19" Type="http://schemas.openxmlformats.org/officeDocument/2006/relationships/image" Target="../media/image107.svg"/><Relationship Id="rId4" Type="http://schemas.openxmlformats.org/officeDocument/2006/relationships/image" Target="../media/image92.png"/><Relationship Id="rId9" Type="http://schemas.openxmlformats.org/officeDocument/2006/relationships/image" Target="../media/image97.svg"/><Relationship Id="rId14" Type="http://schemas.openxmlformats.org/officeDocument/2006/relationships/image" Target="../media/image102.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37.xml"/><Relationship Id="rId7" Type="http://schemas.openxmlformats.org/officeDocument/2006/relationships/image" Target="../media/image13.emf"/><Relationship Id="rId2" Type="http://schemas.openxmlformats.org/officeDocument/2006/relationships/tags" Target="../tags/tag36.xml"/><Relationship Id="rId1" Type="http://schemas.openxmlformats.org/officeDocument/2006/relationships/customXml" Target="../../customXml/item17.xml"/><Relationship Id="rId6" Type="http://schemas.openxmlformats.org/officeDocument/2006/relationships/oleObject" Target="../embeddings/oleObject5.bin"/><Relationship Id="rId5" Type="http://schemas.openxmlformats.org/officeDocument/2006/relationships/notesSlide" Target="../notesSlides/notesSlide16.xml"/><Relationship Id="rId4" Type="http://schemas.openxmlformats.org/officeDocument/2006/relationships/slideLayout" Target="../slideLayouts/slideLayout1.xml"/><Relationship Id="rId9" Type="http://schemas.openxmlformats.org/officeDocument/2006/relationships/image" Target="../media/image18.png"/></Relationships>
</file>

<file path=ppt/slides/_rels/slide3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39.xml"/><Relationship Id="rId7" Type="http://schemas.openxmlformats.org/officeDocument/2006/relationships/image" Target="../media/image13.emf"/><Relationship Id="rId2" Type="http://schemas.openxmlformats.org/officeDocument/2006/relationships/tags" Target="../tags/tag38.xml"/><Relationship Id="rId1" Type="http://schemas.openxmlformats.org/officeDocument/2006/relationships/customXml" Target="../../customXml/item18.xml"/><Relationship Id="rId6" Type="http://schemas.openxmlformats.org/officeDocument/2006/relationships/oleObject" Target="../embeddings/oleObject5.bin"/><Relationship Id="rId5" Type="http://schemas.openxmlformats.org/officeDocument/2006/relationships/notesSlide" Target="../notesSlides/notesSlide17.xml"/><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15.xml"/><Relationship Id="rId7" Type="http://schemas.openxmlformats.org/officeDocument/2006/relationships/image" Target="../media/image13.emf"/><Relationship Id="rId2" Type="http://schemas.openxmlformats.org/officeDocument/2006/relationships/tags" Target="../tags/tag14.xml"/><Relationship Id="rId1" Type="http://schemas.openxmlformats.org/officeDocument/2006/relationships/customXml" Target="../../customXml/item7.xml"/><Relationship Id="rId6" Type="http://schemas.openxmlformats.org/officeDocument/2006/relationships/oleObject" Target="../embeddings/oleObject5.bin"/><Relationship Id="rId5" Type="http://schemas.openxmlformats.org/officeDocument/2006/relationships/notesSlide" Target="../notesSlides/notesSlide4.xml"/><Relationship Id="rId4" Type="http://schemas.openxmlformats.org/officeDocument/2006/relationships/slideLayout" Target="../slideLayouts/slideLayout1.xml"/><Relationship Id="rId9" Type="http://schemas.openxmlformats.org/officeDocument/2006/relationships/image" Target="../media/image18.png"/></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15.png"/><Relationship Id="rId18" Type="http://schemas.openxmlformats.org/officeDocument/2006/relationships/image" Target="../media/image17.jpeg"/><Relationship Id="rId3" Type="http://schemas.openxmlformats.org/officeDocument/2006/relationships/tags" Target="../tags/tag17.xml"/><Relationship Id="rId7" Type="http://schemas.openxmlformats.org/officeDocument/2006/relationships/image" Target="../media/image13.emf"/><Relationship Id="rId12" Type="http://schemas.openxmlformats.org/officeDocument/2006/relationships/image" Target="../media/image14.png"/><Relationship Id="rId17" Type="http://schemas.openxmlformats.org/officeDocument/2006/relationships/image" Target="../media/image11.png"/><Relationship Id="rId2" Type="http://schemas.openxmlformats.org/officeDocument/2006/relationships/tags" Target="../tags/tag16.xml"/><Relationship Id="rId16" Type="http://schemas.openxmlformats.org/officeDocument/2006/relationships/image" Target="../media/image10.png"/><Relationship Id="rId1" Type="http://schemas.openxmlformats.org/officeDocument/2006/relationships/customXml" Target="../../customXml/item8.xml"/><Relationship Id="rId6" Type="http://schemas.openxmlformats.org/officeDocument/2006/relationships/oleObject" Target="../embeddings/oleObject5.bin"/><Relationship Id="rId11" Type="http://schemas.openxmlformats.org/officeDocument/2006/relationships/image" Target="../media/image23.svg"/><Relationship Id="rId5" Type="http://schemas.openxmlformats.org/officeDocument/2006/relationships/notesSlide" Target="../notesSlides/notesSlide5.xml"/><Relationship Id="rId15" Type="http://schemas.openxmlformats.org/officeDocument/2006/relationships/image" Target="../media/image9.png"/><Relationship Id="rId10" Type="http://schemas.openxmlformats.org/officeDocument/2006/relationships/image" Target="../media/image22.png"/><Relationship Id="rId4" Type="http://schemas.openxmlformats.org/officeDocument/2006/relationships/slideLayout" Target="../slideLayouts/slideLayout1.xml"/><Relationship Id="rId9" Type="http://schemas.openxmlformats.org/officeDocument/2006/relationships/image" Target="../media/image21.svg"/><Relationship Id="rId14"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tags" Target="../tags/tag19.xml"/><Relationship Id="rId7" Type="http://schemas.openxmlformats.org/officeDocument/2006/relationships/image" Target="../media/image13.emf"/><Relationship Id="rId12" Type="http://schemas.openxmlformats.org/officeDocument/2006/relationships/image" Target="../media/image28.jpeg"/><Relationship Id="rId2" Type="http://schemas.openxmlformats.org/officeDocument/2006/relationships/tags" Target="../tags/tag18.xml"/><Relationship Id="rId1" Type="http://schemas.openxmlformats.org/officeDocument/2006/relationships/customXml" Target="../../customXml/item9.xml"/><Relationship Id="rId6" Type="http://schemas.openxmlformats.org/officeDocument/2006/relationships/oleObject" Target="../embeddings/oleObject5.bin"/><Relationship Id="rId11" Type="http://schemas.openxmlformats.org/officeDocument/2006/relationships/image" Target="../media/image27.jpeg"/><Relationship Id="rId5" Type="http://schemas.openxmlformats.org/officeDocument/2006/relationships/notesSlide" Target="../notesSlides/notesSlide6.xml"/><Relationship Id="rId10" Type="http://schemas.openxmlformats.org/officeDocument/2006/relationships/image" Target="../media/image26.jpeg"/><Relationship Id="rId4" Type="http://schemas.openxmlformats.org/officeDocument/2006/relationships/slideLayout" Target="../slideLayouts/slideLayout1.xml"/><Relationship Id="rId9" Type="http://schemas.openxmlformats.org/officeDocument/2006/relationships/image" Target="../media/image25.jpeg"/></Relationships>
</file>

<file path=ppt/slides/_rels/slide7.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11.png"/><Relationship Id="rId3" Type="http://schemas.openxmlformats.org/officeDocument/2006/relationships/tags" Target="../tags/tag21.xml"/><Relationship Id="rId7" Type="http://schemas.openxmlformats.org/officeDocument/2006/relationships/image" Target="../media/image13.emf"/><Relationship Id="rId12" Type="http://schemas.openxmlformats.org/officeDocument/2006/relationships/image" Target="../media/image10.png"/><Relationship Id="rId2" Type="http://schemas.openxmlformats.org/officeDocument/2006/relationships/tags" Target="../tags/tag20.xml"/><Relationship Id="rId1" Type="http://schemas.openxmlformats.org/officeDocument/2006/relationships/customXml" Target="../../customXml/item10.xml"/><Relationship Id="rId6" Type="http://schemas.openxmlformats.org/officeDocument/2006/relationships/oleObject" Target="../embeddings/oleObject5.bin"/><Relationship Id="rId11" Type="http://schemas.openxmlformats.org/officeDocument/2006/relationships/image" Target="../media/image9.png"/><Relationship Id="rId5" Type="http://schemas.openxmlformats.org/officeDocument/2006/relationships/notesSlide" Target="../notesSlides/notesSlide7.xml"/><Relationship Id="rId10" Type="http://schemas.openxmlformats.org/officeDocument/2006/relationships/image" Target="../media/image31.png"/><Relationship Id="rId4" Type="http://schemas.openxmlformats.org/officeDocument/2006/relationships/slideLayout" Target="../slideLayouts/slideLayout1.xml"/><Relationship Id="rId9" Type="http://schemas.openxmlformats.org/officeDocument/2006/relationships/image" Target="../media/image30.png"/><Relationship Id="rId14" Type="http://schemas.openxmlformats.org/officeDocument/2006/relationships/image" Target="../media/image32.jpeg"/></Relationships>
</file>

<file path=ppt/slides/_rels/slide8.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3.emf"/><Relationship Id="rId2" Type="http://schemas.openxmlformats.org/officeDocument/2006/relationships/tags" Target="../tags/tag22.xml"/><Relationship Id="rId1" Type="http://schemas.openxmlformats.org/officeDocument/2006/relationships/customXml" Target="../../customXml/item11.xml"/><Relationship Id="rId6" Type="http://schemas.openxmlformats.org/officeDocument/2006/relationships/oleObject" Target="../embeddings/oleObject5.bin"/><Relationship Id="rId5" Type="http://schemas.openxmlformats.org/officeDocument/2006/relationships/notesSlide" Target="../notesSlides/notesSlide8.xml"/><Relationship Id="rId4"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25.xml"/><Relationship Id="rId7" Type="http://schemas.openxmlformats.org/officeDocument/2006/relationships/image" Target="../media/image13.emf"/><Relationship Id="rId2" Type="http://schemas.openxmlformats.org/officeDocument/2006/relationships/tags" Target="../tags/tag24.xml"/><Relationship Id="rId1" Type="http://schemas.openxmlformats.org/officeDocument/2006/relationships/customXml" Target="../../customXml/item12.xml"/><Relationship Id="rId6" Type="http://schemas.openxmlformats.org/officeDocument/2006/relationships/oleObject" Target="../embeddings/oleObject5.bin"/><Relationship Id="rId11" Type="http://schemas.openxmlformats.org/officeDocument/2006/relationships/image" Target="../media/image35.png"/><Relationship Id="rId5" Type="http://schemas.openxmlformats.org/officeDocument/2006/relationships/notesSlide" Target="../notesSlides/notesSlide9.xml"/><Relationship Id="rId10" Type="http://schemas.openxmlformats.org/officeDocument/2006/relationships/image" Target="../media/image34.png"/><Relationship Id="rId4" Type="http://schemas.openxmlformats.org/officeDocument/2006/relationships/slideLayout" Target="../slideLayouts/slideLayout1.xml"/><Relationship Id="rId9"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12192000" y="0"/>
          <a:ext cx="0" cy="0"/>
          <a:chOff x="12192000" y="0"/>
          <a:chExt cx="0" cy="0"/>
        </a:xfrm>
      </p:grpSpPr>
      <p:graphicFrame>
        <p:nvGraphicFramePr>
          <p:cNvPr id="5" name="Object 4" hidden="1">
            <a:extLst>
              <a:ext uri="{FF2B5EF4-FFF2-40B4-BE49-F238E27FC236}">
                <a16:creationId xmlns:a16="http://schemas.microsoft.com/office/drawing/2014/main" id="{A4944B14-779A-4F86-B373-79C3E5FD45B1}"/>
              </a:ext>
            </a:extLst>
          </p:cNvPr>
          <p:cNvGraphicFramePr>
            <a:graphicFrameLocks noChangeAspect="1"/>
          </p:cNvGraphicFramePr>
          <p:nvPr>
            <p:custDataLst>
              <p:tags r:id="rId1"/>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5" name="Object 4" hidden="1">
                        <a:extLst>
                          <a:ext uri="{FF2B5EF4-FFF2-40B4-BE49-F238E27FC236}">
                            <a16:creationId xmlns:a16="http://schemas.microsoft.com/office/drawing/2014/main" id="{A4944B14-779A-4F86-B373-79C3E5FD45B1}"/>
                          </a:ext>
                        </a:extLst>
                      </p:cNvPr>
                      <p:cNvPicPr/>
                      <p:nvPr/>
                    </p:nvPicPr>
                    <p:blipFill>
                      <a:blip r:embed="rId5"/>
                      <a:stretch>
                        <a:fillRect/>
                      </a:stretch>
                    </p:blipFill>
                    <p:spPr>
                      <a:xfrm>
                        <a:off x="12188824" y="1588"/>
                        <a:ext cx="1588" cy="1588"/>
                      </a:xfrm>
                      <a:prstGeom prst="rect">
                        <a:avLst/>
                      </a:prstGeom>
                    </p:spPr>
                  </p:pic>
                </p:oleObj>
              </mc:Fallback>
            </mc:AlternateContent>
          </a:graphicData>
        </a:graphic>
      </p:graphicFrame>
      <p:sp>
        <p:nvSpPr>
          <p:cNvPr id="11" name="ADVANCED SCIENCES…">
            <a:extLst>
              <a:ext uri="{FF2B5EF4-FFF2-40B4-BE49-F238E27FC236}">
                <a16:creationId xmlns:a16="http://schemas.microsoft.com/office/drawing/2014/main" id="{39D40258-6DED-4FA6-80D0-66ADC1B44BF1}"/>
              </a:ext>
            </a:extLst>
          </p:cNvPr>
          <p:cNvSpPr/>
          <p:nvPr/>
        </p:nvSpPr>
        <p:spPr>
          <a:xfrm flipH="1">
            <a:off x="606191" y="1449526"/>
            <a:ext cx="10621278" cy="1169547"/>
          </a:xfrm>
          <a:prstGeom prst="rect">
            <a:avLst/>
          </a:prstGeom>
          <a:ln w="12700">
            <a:miter lim="400000"/>
          </a:ln>
          <a:extLst>
            <a:ext uri="{C572A759-6A51-4108-AA02-DFA0A04FC94B}">
              <ma14:wrappingTextBoxFlag xmlns="" xmlns:ma14="http://schemas.microsoft.com/office/mac/drawingml/2011/main" val="1"/>
            </a:ext>
          </a:extLst>
        </p:spPr>
        <p:txBody>
          <a:bodyPr wrap="square" lIns="91438" tIns="91438" rIns="91438" bIns="91438" anchor="t">
            <a:spAutoFit/>
          </a:bodyPr>
          <a:lstStyle/>
          <a:p>
            <a:pPr algn="ctr" rtl="1">
              <a:spcBef>
                <a:spcPct val="0"/>
              </a:spcBef>
            </a:pPr>
            <a:r>
              <a:rPr lang="en-US" sz="3200" b="1" dirty="0">
                <a:ln w="6350" cap="flat">
                  <a:noFill/>
                  <a:miter lim="800000"/>
                </a:ln>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The Integrated Industrial Partnership </a:t>
            </a:r>
          </a:p>
          <a:p>
            <a:pPr algn="ctr" rtl="1">
              <a:spcBef>
                <a:spcPct val="0"/>
              </a:spcBef>
            </a:pPr>
            <a:r>
              <a:rPr lang="en-US" sz="3200" b="1" dirty="0">
                <a:ln w="6350" cap="flat">
                  <a:noFill/>
                  <a:miter lim="800000"/>
                </a:ln>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for Sustainable Economic Development</a:t>
            </a:r>
          </a:p>
        </p:txBody>
      </p:sp>
      <p:pic>
        <p:nvPicPr>
          <p:cNvPr id="2" name="flag_UAE">
            <a:extLst>
              <a:ext uri="{FF2B5EF4-FFF2-40B4-BE49-F238E27FC236}">
                <a16:creationId xmlns:a16="http://schemas.microsoft.com/office/drawing/2014/main" id="{B341CACF-F1FF-0B9C-74BC-923C83E23A3B}"/>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8420586" y="3310697"/>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 name="flag_egypt">
            <a:extLst>
              <a:ext uri="{FF2B5EF4-FFF2-40B4-BE49-F238E27FC236}">
                <a16:creationId xmlns:a16="http://schemas.microsoft.com/office/drawing/2014/main" id="{2FF1C681-91AE-BE46-191D-A73D1DF825AE}"/>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7486480" y="3310697"/>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 name="flag_jordan">
            <a:extLst>
              <a:ext uri="{FF2B5EF4-FFF2-40B4-BE49-F238E27FC236}">
                <a16:creationId xmlns:a16="http://schemas.microsoft.com/office/drawing/2014/main" id="{D78FBC1A-37E1-936E-7C59-A820ACA4F063}"/>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6552374" y="3310697"/>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19050">
                <a:gradFill flip="none" rotWithShape="1">
                  <a:gsLst>
                    <a:gs pos="0">
                      <a:schemeClr val="accent2"/>
                    </a:gs>
                    <a:gs pos="100000">
                      <a:schemeClr val="tx2"/>
                    </a:gs>
                  </a:gsLst>
                  <a:lin ang="2700000" scaled="1"/>
                  <a:tileRect/>
                </a:gradFill>
              </a14:hiddenLine>
            </a:ext>
          </a:extLst>
        </p:spPr>
      </p:pic>
      <p:sp>
        <p:nvSpPr>
          <p:cNvPr id="6" name="ADVANCED SCIENCES…">
            <a:extLst>
              <a:ext uri="{FF2B5EF4-FFF2-40B4-BE49-F238E27FC236}">
                <a16:creationId xmlns:a16="http://schemas.microsoft.com/office/drawing/2014/main" id="{7B582BBA-4FD8-28BA-3C83-D85E8A67098C}"/>
              </a:ext>
            </a:extLst>
          </p:cNvPr>
          <p:cNvSpPr/>
          <p:nvPr/>
        </p:nvSpPr>
        <p:spPr>
          <a:xfrm flipH="1">
            <a:off x="1325564" y="4608259"/>
            <a:ext cx="8824314" cy="1107992"/>
          </a:xfrm>
          <a:prstGeom prst="rect">
            <a:avLst/>
          </a:prstGeom>
          <a:ln w="12700">
            <a:miter lim="400000"/>
          </a:ln>
          <a:extLst>
            <a:ext uri="{C572A759-6A51-4108-AA02-DFA0A04FC94B}">
              <ma14:wrappingTextBoxFlag xmlns="" xmlns:ma14="http://schemas.microsoft.com/office/mac/drawingml/2011/main" val="1"/>
            </a:ext>
          </a:extLst>
        </p:spPr>
        <p:txBody>
          <a:bodyPr wrap="square" lIns="91438" tIns="91438" rIns="91438" bIns="91438" anchor="t">
            <a:spAutoFit/>
          </a:bodyPr>
          <a:lstStyle/>
          <a:p>
            <a:pPr algn="ctr" rtl="1">
              <a:spcBef>
                <a:spcPct val="0"/>
              </a:spcBef>
            </a:pPr>
            <a:r>
              <a:rPr lang="en-US" sz="2000" b="1" dirty="0">
                <a:ln w="6350" cap="flat">
                  <a:noFill/>
                  <a:miter lim="800000"/>
                </a:ln>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Private Sector Workshop</a:t>
            </a:r>
          </a:p>
          <a:p>
            <a:pPr algn="ctr" rtl="1">
              <a:spcBef>
                <a:spcPct val="0"/>
              </a:spcBef>
            </a:pPr>
            <a:r>
              <a:rPr lang="en-US" sz="2000" b="1" dirty="0">
                <a:ln w="6350" cap="flat">
                  <a:noFill/>
                  <a:miter lim="800000"/>
                </a:ln>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Thursday, March 20</a:t>
            </a:r>
            <a:r>
              <a:rPr lang="en-US" sz="2000" b="1" baseline="30000" dirty="0">
                <a:ln w="6350" cap="flat">
                  <a:noFill/>
                  <a:miter lim="800000"/>
                </a:ln>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th</a:t>
            </a:r>
            <a:r>
              <a:rPr lang="en-US" sz="2000" b="1" dirty="0">
                <a:ln w="6350" cap="flat">
                  <a:noFill/>
                  <a:miter lim="800000"/>
                </a:ln>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 2025</a:t>
            </a:r>
          </a:p>
          <a:p>
            <a:pPr algn="ctr" rtl="1">
              <a:spcBef>
                <a:spcPct val="0"/>
              </a:spcBef>
            </a:pPr>
            <a:endParaRPr lang="en-US" sz="2000" b="1" dirty="0">
              <a:ln w="6350" cap="flat">
                <a:noFill/>
                <a:miter lim="800000"/>
              </a:ln>
              <a:solidFill>
                <a:srgbClr val="817A6C"/>
              </a:solidFill>
              <a:latin typeface="Arial" panose="020B0604020202020204" pitchFamily="34" charset="0"/>
              <a:ea typeface="+mj-ea"/>
              <a:cs typeface="Arial" panose="020B0604020202020204" pitchFamily="34" charset="0"/>
              <a:sym typeface="Sakkal Majalla" panose="02000000000000000000" pitchFamily="2" charset="-78"/>
            </a:endParaRPr>
          </a:p>
        </p:txBody>
      </p:sp>
      <p:pic>
        <p:nvPicPr>
          <p:cNvPr id="7" name="Picture 2" descr="‫علم المغرب from ar.wikipedia.org‬‎">
            <a:extLst>
              <a:ext uri="{FF2B5EF4-FFF2-40B4-BE49-F238E27FC236}">
                <a16:creationId xmlns:a16="http://schemas.microsoft.com/office/drawing/2014/main" id="{837C7883-7D98-B743-CE7C-5F03270D6749}"/>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608976" y="3284313"/>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Picture 4">
            <a:extLst>
              <a:ext uri="{FF2B5EF4-FFF2-40B4-BE49-F238E27FC236}">
                <a16:creationId xmlns:a16="http://schemas.microsoft.com/office/drawing/2014/main" id="{CA3029E6-359C-5864-2B34-7AAA0357086C}"/>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514802" y="3310697"/>
            <a:ext cx="804056" cy="66746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12" name="Straight Connector 11">
            <a:extLst>
              <a:ext uri="{FF2B5EF4-FFF2-40B4-BE49-F238E27FC236}">
                <a16:creationId xmlns:a16="http://schemas.microsoft.com/office/drawing/2014/main" id="{632C6F42-B468-C97E-3A79-C45654921FF8}"/>
              </a:ext>
            </a:extLst>
          </p:cNvPr>
          <p:cNvCxnSpPr/>
          <p:nvPr/>
        </p:nvCxnSpPr>
        <p:spPr>
          <a:xfrm>
            <a:off x="2999294" y="2965632"/>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14" name="Picture 2" descr="Turkey - Wikipedia">
            <a:extLst>
              <a:ext uri="{FF2B5EF4-FFF2-40B4-BE49-F238E27FC236}">
                <a16:creationId xmlns:a16="http://schemas.microsoft.com/office/drawing/2014/main" id="{9486195B-DA74-870C-8735-FEA88B769E19}"/>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829728" y="3310696"/>
            <a:ext cx="750391" cy="67419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5" name="Picture 4" descr="2,400+ Qatar Qatari Flag Stock Illustrations, Royalty-Free Vector Graphics  &amp; Clip Art - iStock">
            <a:extLst>
              <a:ext uri="{FF2B5EF4-FFF2-40B4-BE49-F238E27FC236}">
                <a16:creationId xmlns:a16="http://schemas.microsoft.com/office/drawing/2014/main" id="{49CD47F6-8090-243E-8BA8-276DBBDC64B8}"/>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741116" y="3289263"/>
            <a:ext cx="706863" cy="6956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3" name="Rectangle 12">
            <a:extLst>
              <a:ext uri="{FF2B5EF4-FFF2-40B4-BE49-F238E27FC236}">
                <a16:creationId xmlns:a16="http://schemas.microsoft.com/office/drawing/2014/main" id="{8508F629-30EE-3AB9-0CAD-747DF8B4843E}"/>
              </a:ext>
            </a:extLst>
          </p:cNvPr>
          <p:cNvSpPr/>
          <p:nvPr/>
        </p:nvSpPr>
        <p:spPr>
          <a:xfrm>
            <a:off x="9376660" y="5880258"/>
            <a:ext cx="1407669" cy="600740"/>
          </a:xfrm>
          <a:prstGeom prst="rect">
            <a:avLst/>
          </a:prstGeom>
        </p:spPr>
        <p:txBody>
          <a:bodyPr vert="horz" wrap="square" lIns="0" tIns="0" rIns="0" bIns="0" rtlCol="0" anchor="t">
            <a:noAutofit/>
          </a:bodyPr>
          <a:lstStyle/>
          <a:p>
            <a:pPr algn="ctr" rtl="1">
              <a:lnSpc>
                <a:spcPct val="90000"/>
              </a:lnSpc>
              <a:spcBef>
                <a:spcPct val="0"/>
              </a:spcBef>
            </a:pPr>
            <a:r>
              <a:rPr lang="en-US" sz="1600" b="1" dirty="0">
                <a:solidFill>
                  <a:srgbClr val="866A2C"/>
                </a:solidFill>
                <a:latin typeface="Arial" panose="020B0604020202020204" pitchFamily="34" charset="0"/>
                <a:ea typeface="+mj-ea"/>
                <a:cs typeface="Arial" panose="020B0604020202020204" pitchFamily="34" charset="0"/>
              </a:rPr>
              <a:t>Attendance Registration and Feedback</a:t>
            </a:r>
            <a:endParaRPr lang="ar-AE" sz="1600" b="1" dirty="0">
              <a:solidFill>
                <a:srgbClr val="866A2C"/>
              </a:solidFill>
              <a:latin typeface="Arial" panose="020B0604020202020204" pitchFamily="34" charset="0"/>
              <a:ea typeface="+mj-ea"/>
              <a:cs typeface="Arial" panose="020B0604020202020204" pitchFamily="34" charset="0"/>
            </a:endParaRPr>
          </a:p>
        </p:txBody>
      </p:sp>
      <p:pic>
        <p:nvPicPr>
          <p:cNvPr id="17" name="Picture 16">
            <a:extLst>
              <a:ext uri="{FF2B5EF4-FFF2-40B4-BE49-F238E27FC236}">
                <a16:creationId xmlns:a16="http://schemas.microsoft.com/office/drawing/2014/main" id="{027B553F-80E7-AAC4-BED0-F7A8328896ED}"/>
              </a:ext>
            </a:extLst>
          </p:cNvPr>
          <p:cNvPicPr>
            <a:picLocks noChangeAspect="1"/>
          </p:cNvPicPr>
          <p:nvPr/>
        </p:nvPicPr>
        <p:blipFill>
          <a:blip r:embed="rId13"/>
          <a:stretch>
            <a:fillRect/>
          </a:stretch>
        </p:blipFill>
        <p:spPr>
          <a:xfrm>
            <a:off x="9461282" y="4487711"/>
            <a:ext cx="1238423" cy="1257475"/>
          </a:xfrm>
          <a:prstGeom prst="rect">
            <a:avLst/>
          </a:prstGeom>
        </p:spPr>
      </p:pic>
    </p:spTree>
    <p:extLst>
      <p:ext uri="{BB962C8B-B14F-4D97-AF65-F5344CB8AC3E}">
        <p14:creationId xmlns:p14="http://schemas.microsoft.com/office/powerpoint/2010/main" val="745239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19F8B1-658D-C911-DF3A-226AC0544636}"/>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id="{CC722ED7-2B50-9962-02CB-1EEEF71D3B38}"/>
              </a:ext>
            </a:extLst>
          </p:cNvPr>
          <p:cNvGraphicFramePr>
            <a:graphicFrameLocks noChangeAspect="1"/>
          </p:cNvGraphicFramePr>
          <p:nvPr>
            <p:custDataLst>
              <p:tags r:id="rId2"/>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name="think-cell Slide" r:id="rId6" imgW="606" imgH="608" progId="TCLayout.ActiveDocument.1">
                  <p:embed/>
                </p:oleObj>
              </mc:Choice>
              <mc:Fallback>
                <p:oleObj name="think-cell Slide" r:id="rId6" imgW="606" imgH="608" progId="TCLayout.ActiveDocument.1">
                  <p:embed/>
                  <p:pic>
                    <p:nvPicPr>
                      <p:cNvPr id="4" name="Object 3" hidden="1">
                        <a:extLst>
                          <a:ext uri="{FF2B5EF4-FFF2-40B4-BE49-F238E27FC236}">
                            <a16:creationId xmlns:a16="http://schemas.microsoft.com/office/drawing/2014/main" id="{CC722ED7-2B50-9962-02CB-1EEEF71D3B38}"/>
                          </a:ext>
                        </a:extLst>
                      </p:cNvPr>
                      <p:cNvPicPr/>
                      <p:nvPr/>
                    </p:nvPicPr>
                    <p:blipFill>
                      <a:blip r:embed="rId7"/>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CCEEFFB-7CAB-1311-04F9-051D4895EE98}"/>
              </a:ext>
            </a:extLst>
          </p:cNvPr>
          <p:cNvSpPr/>
          <p:nvPr>
            <p:custDataLst>
              <p:tags r:id="rId3"/>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id="{FC6A7957-5510-18D9-87E6-E5E302BED24D}"/>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The value of the projects that will be announced in Qatar on February 9, 2025</a:t>
            </a:r>
          </a:p>
        </p:txBody>
      </p:sp>
      <p:cxnSp>
        <p:nvCxnSpPr>
          <p:cNvPr id="2" name="Straight Connector 1">
            <a:extLst>
              <a:ext uri="{FF2B5EF4-FFF2-40B4-BE49-F238E27FC236}">
                <a16:creationId xmlns:a16="http://schemas.microsoft.com/office/drawing/2014/main" id="{23916A13-59D6-D008-08D0-1343CED97814}"/>
              </a:ext>
            </a:extLst>
          </p:cNvPr>
          <p:cNvCxnSpPr/>
          <p:nvPr/>
        </p:nvCxnSpPr>
        <p:spPr>
          <a:xfrm>
            <a:off x="174526" y="565341"/>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17">
            <a:extLst>
              <a:ext uri="{FF2B5EF4-FFF2-40B4-BE49-F238E27FC236}">
                <a16:creationId xmlns:a16="http://schemas.microsoft.com/office/drawing/2014/main" id="{7F3F35C9-02C8-4164-BBC8-77740CA28368}"/>
              </a:ext>
            </a:extLst>
          </p:cNvPr>
          <p:cNvSpPr/>
          <p:nvPr/>
        </p:nvSpPr>
        <p:spPr>
          <a:xfrm rot="10800000">
            <a:off x="12056882" y="0"/>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graphicFrame>
        <p:nvGraphicFramePr>
          <p:cNvPr id="26" name="Table 25">
            <a:extLst>
              <a:ext uri="{FF2B5EF4-FFF2-40B4-BE49-F238E27FC236}">
                <a16:creationId xmlns:a16="http://schemas.microsoft.com/office/drawing/2014/main" id="{296A2C64-CA7C-D772-85F0-189FC5FC9D82}"/>
              </a:ext>
            </a:extLst>
          </p:cNvPr>
          <p:cNvGraphicFramePr>
            <a:graphicFrameLocks noGrp="1"/>
          </p:cNvGraphicFramePr>
          <p:nvPr>
            <p:extLst>
              <p:ext uri="{D42A27DB-BD31-4B8C-83A1-F6EECF244321}">
                <p14:modId xmlns:p14="http://schemas.microsoft.com/office/powerpoint/2010/main" val="3853588300"/>
              </p:ext>
            </p:extLst>
          </p:nvPr>
        </p:nvGraphicFramePr>
        <p:xfrm>
          <a:off x="243860" y="937546"/>
          <a:ext cx="11411111" cy="5873334"/>
        </p:xfrm>
        <a:graphic>
          <a:graphicData uri="http://schemas.openxmlformats.org/drawingml/2006/table">
            <a:tbl>
              <a:tblPr rtl="1" firstRow="1" firstCol="1" bandRow="1">
                <a:tableStyleId>{5C22544A-7EE6-4342-B048-85BDC9FD1C3A}</a:tableStyleId>
              </a:tblPr>
              <a:tblGrid>
                <a:gridCol w="1175656">
                  <a:extLst>
                    <a:ext uri="{9D8B030D-6E8A-4147-A177-3AD203B41FA5}">
                      <a16:colId xmlns:a16="http://schemas.microsoft.com/office/drawing/2014/main" val="668415271"/>
                    </a:ext>
                  </a:extLst>
                </a:gridCol>
                <a:gridCol w="805580">
                  <a:extLst>
                    <a:ext uri="{9D8B030D-6E8A-4147-A177-3AD203B41FA5}">
                      <a16:colId xmlns:a16="http://schemas.microsoft.com/office/drawing/2014/main" val="1197281942"/>
                    </a:ext>
                  </a:extLst>
                </a:gridCol>
                <a:gridCol w="8596749">
                  <a:extLst>
                    <a:ext uri="{9D8B030D-6E8A-4147-A177-3AD203B41FA5}">
                      <a16:colId xmlns:a16="http://schemas.microsoft.com/office/drawing/2014/main" val="4033729448"/>
                    </a:ext>
                  </a:extLst>
                </a:gridCol>
                <a:gridCol w="833126">
                  <a:extLst>
                    <a:ext uri="{9D8B030D-6E8A-4147-A177-3AD203B41FA5}">
                      <a16:colId xmlns:a16="http://schemas.microsoft.com/office/drawing/2014/main" val="4265322921"/>
                    </a:ext>
                  </a:extLst>
                </a:gridCol>
              </a:tblGrid>
              <a:tr h="556542">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1600" b="1" kern="1200" dirty="0">
                          <a:solidFill>
                            <a:schemeClr val="bg1"/>
                          </a:solidFill>
                          <a:latin typeface="Janna LT" panose="01000000000000000000" pitchFamily="2" charset="-78"/>
                          <a:ea typeface="+mn-ea"/>
                          <a:cs typeface="Janna LT" panose="01000000000000000000" pitchFamily="2" charset="-78"/>
                        </a:rPr>
                        <a:t>Countries</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1600" b="1" kern="1200" dirty="0">
                          <a:solidFill>
                            <a:schemeClr val="bg1"/>
                          </a:solidFill>
                          <a:latin typeface="Janna LT" panose="01000000000000000000" pitchFamily="2" charset="-78"/>
                          <a:ea typeface="+mn-ea"/>
                          <a:cs typeface="Janna LT" panose="01000000000000000000" pitchFamily="2" charset="-78"/>
                        </a:rPr>
                        <a:t>Value</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tc>
                  <a:txBody>
                    <a:bodyPr/>
                    <a:lstStyle/>
                    <a:p>
                      <a:pPr algn="ctr" rtl="1">
                        <a:lnSpc>
                          <a:spcPct val="100000"/>
                        </a:lnSpc>
                      </a:pPr>
                      <a:r>
                        <a:rPr lang="en-US" sz="1600" b="1" kern="1200" dirty="0">
                          <a:solidFill>
                            <a:schemeClr val="bg1"/>
                          </a:solidFill>
                          <a:latin typeface="Janna LT" panose="01000000000000000000" pitchFamily="2" charset="-78"/>
                          <a:ea typeface="+mn-ea"/>
                          <a:cs typeface="Janna LT" panose="01000000000000000000" pitchFamily="2" charset="-78"/>
                        </a:rPr>
                        <a:t>Project/ Agreement</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1600" b="1" kern="1200" dirty="0">
                          <a:solidFill>
                            <a:schemeClr val="bg1"/>
                          </a:solidFill>
                          <a:latin typeface="Janna LT" panose="01000000000000000000" pitchFamily="2" charset="-78"/>
                          <a:ea typeface="+mn-ea"/>
                          <a:cs typeface="Janna LT" panose="01000000000000000000" pitchFamily="2" charset="-78"/>
                        </a:rPr>
                        <a:t>#</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extLst>
                  <a:ext uri="{0D108BD9-81ED-4DB2-BD59-A6C34878D82A}">
                    <a16:rowId xmlns:a16="http://schemas.microsoft.com/office/drawing/2014/main" val="1549014671"/>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95</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ptos Narrow" panose="020B0004020202020204" pitchFamily="34" charset="0"/>
                          <a:ea typeface="+mn-ea"/>
                          <a:cs typeface="Janna LT" panose="01000000000000000000"/>
                        </a:rPr>
                        <a:t>A supply agreement for fiberglass pipes between "Future Pipes" (UAE) and "Med Gulf" (Qatar).</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1</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08896940"/>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Janna LT" panose="01000000000000000000" pitchFamily="2" charset="-78"/>
                          <a:ea typeface="+mn-ea"/>
                          <a:cs typeface="Janna LT" panose="01000000000000000000" pitchFamily="2" charset="-78"/>
                        </a:rPr>
                        <a:t>50</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ptos Narrow" panose="020B0004020202020204" pitchFamily="34" charset="0"/>
                          <a:ea typeface="+mn-ea"/>
                          <a:cs typeface="Janna LT" panose="01000000000000000000"/>
                        </a:rPr>
                        <a:t>A cooperation memorandum between "Global Pharma" (UAE) and "Zenith Pharma" (Morocco) in the fields of injectable medicines, biosimilars, and cholesterol and diabetes drugs.</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2</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88642094"/>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400" b="1" kern="1200">
                          <a:solidFill>
                            <a:srgbClr val="817A6C"/>
                          </a:solidFill>
                          <a:latin typeface="Janna LT" panose="01000000000000000000" pitchFamily="2" charset="-78"/>
                          <a:ea typeface="+mn-ea"/>
                          <a:cs typeface="Janna LT" panose="01000000000000000000" pitchFamily="2" charset="-78"/>
                        </a:rPr>
                        <a:t>250</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ptos Narrow" panose="020B0004020202020204" pitchFamily="34" charset="0"/>
                          <a:ea typeface="+mn-ea"/>
                          <a:cs typeface="Janna LT" panose="01000000000000000000"/>
                        </a:rPr>
                        <a:t>The inclusion of the "Pharmaceuticals" factory in Egypt and "Fay" in Morocco into the portfolio of "Mubadala Investment Company" (UAE).</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3</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23212978"/>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10</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ptos Narrow" panose="020B0004020202020204" pitchFamily="34" charset="0"/>
                          <a:ea typeface="+mn-ea"/>
                          <a:cs typeface="Janna LT" panose="01000000000000000000"/>
                        </a:rPr>
                        <a:t>A memorandum of understanding between "ISC Capital" (UAE) and "Al-Jazeera Farms" (Bahrain) to establish a factory for producing microalgae-based dietary supplements in Bahrain.</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4</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0736114"/>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400" b="1" kern="1200">
                          <a:solidFill>
                            <a:srgbClr val="817A6C"/>
                          </a:solidFill>
                          <a:latin typeface="Janna LT" panose="01000000000000000000" pitchFamily="2" charset="-78"/>
                          <a:ea typeface="+mn-ea"/>
                          <a:cs typeface="Janna LT" panose="01000000000000000000" pitchFamily="2" charset="-78"/>
                        </a:rPr>
                        <a:t>7</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ptos Narrow" panose="020B0004020202020204" pitchFamily="34" charset="0"/>
                          <a:ea typeface="+mn-ea"/>
                          <a:cs typeface="Janna LT" panose="01000000000000000000"/>
                        </a:rPr>
                        <a:t>The announcement of a new factory for cable connectors and accessories in the UAE in collaboration with "Giza Cables" (Egypt).</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5</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49286816"/>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400" b="1" kern="1200">
                          <a:solidFill>
                            <a:srgbClr val="817A6C"/>
                          </a:solidFill>
                          <a:latin typeface="Janna LT" panose="01000000000000000000" pitchFamily="2" charset="-78"/>
                          <a:ea typeface="+mn-ea"/>
                          <a:cs typeface="Janna LT" panose="01000000000000000000" pitchFamily="2" charset="-78"/>
                        </a:rPr>
                        <a:t>10</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ptos Narrow" panose="020B0004020202020204" pitchFamily="34" charset="0"/>
                          <a:ea typeface="+mn-ea"/>
                          <a:cs typeface="Janna LT" panose="01000000000000000000"/>
                        </a:rPr>
                        <a:t>A supply agreement for plastic containers from "Oxid Electronics" (Jordan) to "National Dairy (</a:t>
                      </a:r>
                      <a:r>
                        <a:rPr lang="en-US" sz="1400" b="1" kern="1200" dirty="0" err="1">
                          <a:solidFill>
                            <a:srgbClr val="817A6C"/>
                          </a:solidFill>
                          <a:latin typeface="Aptos Narrow" panose="020B0004020202020204" pitchFamily="34" charset="0"/>
                          <a:ea typeface="+mn-ea"/>
                          <a:cs typeface="Janna LT" panose="01000000000000000000"/>
                        </a:rPr>
                        <a:t>Hayatna</a:t>
                      </a:r>
                      <a:r>
                        <a:rPr lang="en-US" sz="1400" b="1" kern="1200" dirty="0">
                          <a:solidFill>
                            <a:srgbClr val="817A6C"/>
                          </a:solidFill>
                          <a:latin typeface="Aptos Narrow" panose="020B0004020202020204" pitchFamily="34" charset="0"/>
                          <a:ea typeface="+mn-ea"/>
                          <a:cs typeface="Janna LT" panose="01000000000000000000"/>
                        </a:rPr>
                        <a:t>)" (UAE).</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6</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02705707"/>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10</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a:solidFill>
                            <a:srgbClr val="817A6C"/>
                          </a:solidFill>
                          <a:latin typeface="Aptos Narrow" panose="020B0004020202020204" pitchFamily="34" charset="0"/>
                          <a:ea typeface="+mn-ea"/>
                          <a:cs typeface="Janna LT" panose="01000000000000000000"/>
                        </a:rPr>
                        <a:t>A supply agreement for plastic bottle caps from "Delta Nile" (Egypt) to "National Dairy (Hayatna)" (UAE).</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7</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70736423"/>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400" b="1" kern="1200">
                          <a:solidFill>
                            <a:srgbClr val="817A6C"/>
                          </a:solidFill>
                          <a:latin typeface="Janna LT" panose="01000000000000000000" pitchFamily="2" charset="-78"/>
                          <a:ea typeface="+mn-ea"/>
                          <a:cs typeface="Janna LT" panose="01000000000000000000" pitchFamily="2" charset="-78"/>
                        </a:rPr>
                        <a:t>15</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ptos Narrow" panose="020B0004020202020204" pitchFamily="34" charset="0"/>
                          <a:ea typeface="+mn-ea"/>
                          <a:cs typeface="Janna LT" panose="01000000000000000000"/>
                        </a:rPr>
                        <a:t>A supply agreement for animal feed from "National Feed" (UAE) to "Al-Rayyan Equestrian Supplies" (Qatar).</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8</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56945451"/>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20</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a:solidFill>
                            <a:srgbClr val="817A6C"/>
                          </a:solidFill>
                          <a:latin typeface="Aptos Narrow" panose="020B0004020202020204" pitchFamily="34" charset="0"/>
                          <a:ea typeface="+mn-ea"/>
                          <a:cs typeface="Janna LT" panose="01000000000000000000"/>
                        </a:rPr>
                        <a:t>A memorandum of understanding to supply glass for mirror and silvered glass production from "Emirates Glass" (UAE) to "Al Madina Glass" (Bahrain).</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9</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89211010"/>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60</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ptos Narrow" panose="020B0004020202020204" pitchFamily="34" charset="0"/>
                          <a:ea typeface="+mn-ea"/>
                          <a:cs typeface="Janna LT" panose="01000000000000000000"/>
                        </a:rPr>
                        <a:t>A strategic memorandum of understanding between "</a:t>
                      </a:r>
                      <a:r>
                        <a:rPr lang="en-US" sz="1400" b="1" kern="1200" dirty="0" err="1">
                          <a:solidFill>
                            <a:srgbClr val="817A6C"/>
                          </a:solidFill>
                          <a:latin typeface="Aptos Narrow" panose="020B0004020202020204" pitchFamily="34" charset="0"/>
                          <a:ea typeface="+mn-ea"/>
                          <a:cs typeface="Janna LT" panose="01000000000000000000"/>
                        </a:rPr>
                        <a:t>Dolidol</a:t>
                      </a:r>
                      <a:r>
                        <a:rPr lang="en-US" sz="1400" b="1" kern="1200" dirty="0">
                          <a:solidFill>
                            <a:srgbClr val="817A6C"/>
                          </a:solidFill>
                          <a:latin typeface="Aptos Narrow" panose="020B0004020202020204" pitchFamily="34" charset="0"/>
                          <a:ea typeface="+mn-ea"/>
                          <a:cs typeface="Janna LT" panose="01000000000000000000"/>
                        </a:rPr>
                        <a:t>" (Morocco) and "</a:t>
                      </a:r>
                      <a:r>
                        <a:rPr lang="en-US" sz="1400" b="1" kern="1200" dirty="0" err="1">
                          <a:solidFill>
                            <a:srgbClr val="817A6C"/>
                          </a:solidFill>
                          <a:latin typeface="Aptos Narrow" panose="020B0004020202020204" pitchFamily="34" charset="0"/>
                          <a:ea typeface="+mn-ea"/>
                          <a:cs typeface="Janna LT" panose="01000000000000000000"/>
                        </a:rPr>
                        <a:t>Intercoil</a:t>
                      </a:r>
                      <a:r>
                        <a:rPr lang="en-US" sz="1400" b="1" kern="1200" dirty="0">
                          <a:solidFill>
                            <a:srgbClr val="817A6C"/>
                          </a:solidFill>
                          <a:latin typeface="Aptos Narrow" panose="020B0004020202020204" pitchFamily="34" charset="0"/>
                          <a:ea typeface="+mn-ea"/>
                          <a:cs typeface="Janna LT" panose="01000000000000000000"/>
                        </a:rPr>
                        <a:t>" (UAE) to invest in new sponge production lines in the UAE.</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ar-AE" sz="1400" b="1" kern="1200" dirty="0">
                          <a:solidFill>
                            <a:srgbClr val="817A6C"/>
                          </a:solidFill>
                          <a:latin typeface="Janna LT" panose="01000000000000000000" pitchFamily="2" charset="-78"/>
                          <a:ea typeface="+mn-ea"/>
                          <a:cs typeface="Janna LT" panose="01000000000000000000" pitchFamily="2" charset="-78"/>
                        </a:rPr>
                        <a:t>10</a:t>
                      </a: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49398211"/>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Janna LT" panose="01000000000000000000" pitchFamily="2" charset="-78"/>
                          <a:ea typeface="+mn-ea"/>
                          <a:cs typeface="Janna LT" panose="01000000000000000000" pitchFamily="2" charset="-78"/>
                        </a:rPr>
                        <a:t>1266</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ptos Narrow" panose="020B0004020202020204" pitchFamily="34" charset="0"/>
                          <a:ea typeface="+mn-ea"/>
                          <a:cs typeface="Janna LT" panose="01000000000000000000"/>
                        </a:rPr>
                        <a:t>A raw materials supply agreement between Bahrain Steel and Qatar Steel for a quantity of 5 million metric tons over a period of five years</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en-US" sz="1400" b="1" kern="1200" dirty="0">
                          <a:solidFill>
                            <a:srgbClr val="817A6C"/>
                          </a:solidFill>
                          <a:latin typeface="Janna LT" panose="01000000000000000000" pitchFamily="2" charset="-78"/>
                          <a:ea typeface="+mn-ea"/>
                          <a:cs typeface="Janna LT" panose="01000000000000000000" pitchFamily="2" charset="-78"/>
                        </a:rPr>
                        <a:t>11</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92498992"/>
                  </a:ext>
                </a:extLst>
              </a:tr>
              <a:tr h="443066">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endParaRPr lang="en-US" sz="14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Janna LT" panose="01000000000000000000" pitchFamily="2" charset="-78"/>
                          <a:ea typeface="+mn-ea"/>
                          <a:cs typeface="Janna LT" panose="01000000000000000000" pitchFamily="2" charset="-78"/>
                        </a:rPr>
                        <a:t>220</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ptos Narrow" panose="020B0004020202020204" pitchFamily="34" charset="0"/>
                          <a:ea typeface="+mn-ea"/>
                          <a:cs typeface="Janna LT" panose="01000000000000000000"/>
                        </a:rPr>
                        <a:t>Establishment of a factory in Egypt with “JA Solar" (Chinese company) for manufacturing solar cells and solar modules </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mj-lt"/>
                        <a:buNone/>
                        <a:tabLst/>
                        <a:defRPr/>
                      </a:pPr>
                      <a:r>
                        <a:rPr lang="en-US" sz="1400" b="1" kern="1200" dirty="0">
                          <a:solidFill>
                            <a:srgbClr val="817A6C"/>
                          </a:solidFill>
                          <a:latin typeface="Janna LT" panose="01000000000000000000" pitchFamily="2" charset="-78"/>
                          <a:ea typeface="+mn-ea"/>
                          <a:cs typeface="Janna LT" panose="01000000000000000000" pitchFamily="2" charset="-78"/>
                        </a:rPr>
                        <a:t>12</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23751461"/>
                  </a:ext>
                </a:extLst>
              </a:tr>
            </a:tbl>
          </a:graphicData>
        </a:graphic>
      </p:graphicFrame>
      <p:pic>
        <p:nvPicPr>
          <p:cNvPr id="3" name="flag_UAE">
            <a:extLst>
              <a:ext uri="{FF2B5EF4-FFF2-40B4-BE49-F238E27FC236}">
                <a16:creationId xmlns:a16="http://schemas.microsoft.com/office/drawing/2014/main" id="{8F6FC862-942F-127E-FF21-F0B32D05042A}"/>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11136521" y="1627373"/>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 name="Picture 4" descr="2,400+ Qatar Qatari Flag Stock Illustrations, Royalty-Free Vector Graphics  &amp; Clip Art - iStock">
            <a:extLst>
              <a:ext uri="{FF2B5EF4-FFF2-40B4-BE49-F238E27FC236}">
                <a16:creationId xmlns:a16="http://schemas.microsoft.com/office/drawing/2014/main" id="{6CCFD2D7-CB0E-9732-BEB4-24C3DF5242FA}"/>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0707306" y="1629167"/>
            <a:ext cx="294741" cy="25158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 name="flag_UAE">
            <a:extLst>
              <a:ext uri="{FF2B5EF4-FFF2-40B4-BE49-F238E27FC236}">
                <a16:creationId xmlns:a16="http://schemas.microsoft.com/office/drawing/2014/main" id="{0D168965-6021-7A8D-3445-E548E2BD6E9F}"/>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11151680" y="2063063"/>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flag_UAE">
            <a:extLst>
              <a:ext uri="{FF2B5EF4-FFF2-40B4-BE49-F238E27FC236}">
                <a16:creationId xmlns:a16="http://schemas.microsoft.com/office/drawing/2014/main" id="{E4762C3E-E70D-40DF-723C-A34C552F5C87}"/>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11297743" y="2533494"/>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Picture 2" descr="‫علم المغرب from ar.wikipedia.org‬‎">
            <a:extLst>
              <a:ext uri="{FF2B5EF4-FFF2-40B4-BE49-F238E27FC236}">
                <a16:creationId xmlns:a16="http://schemas.microsoft.com/office/drawing/2014/main" id="{747A65C7-02D4-AA8F-1C8C-CCC81EC1E525}"/>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543093" y="2541205"/>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flag_egypt">
            <a:extLst>
              <a:ext uri="{FF2B5EF4-FFF2-40B4-BE49-F238E27FC236}">
                <a16:creationId xmlns:a16="http://schemas.microsoft.com/office/drawing/2014/main" id="{61C878F3-CC41-9C9A-9D42-F42D70151FA5}"/>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10911636" y="2541205"/>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 name="flag_UAE">
            <a:extLst>
              <a:ext uri="{FF2B5EF4-FFF2-40B4-BE49-F238E27FC236}">
                <a16:creationId xmlns:a16="http://schemas.microsoft.com/office/drawing/2014/main" id="{7FE1EBE9-F10D-BCF5-DEFD-CE59D54733F4}"/>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11096029" y="3065286"/>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flag_UAE">
            <a:extLst>
              <a:ext uri="{FF2B5EF4-FFF2-40B4-BE49-F238E27FC236}">
                <a16:creationId xmlns:a16="http://schemas.microsoft.com/office/drawing/2014/main" id="{1C45410C-C120-6136-83D8-FFD87F655F49}"/>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11114121" y="3507813"/>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flag_egypt">
            <a:extLst>
              <a:ext uri="{FF2B5EF4-FFF2-40B4-BE49-F238E27FC236}">
                <a16:creationId xmlns:a16="http://schemas.microsoft.com/office/drawing/2014/main" id="{74037138-25D8-1789-0754-C0CB39CA0BD2}"/>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10728014" y="3515524"/>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5" name="Picture 4">
            <a:extLst>
              <a:ext uri="{FF2B5EF4-FFF2-40B4-BE49-F238E27FC236}">
                <a16:creationId xmlns:a16="http://schemas.microsoft.com/office/drawing/2014/main" id="{67D12B50-D689-B109-98E9-0A6C7B6D16FB}"/>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0663790" y="3068360"/>
            <a:ext cx="335267" cy="2414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flag_UAE">
            <a:extLst>
              <a:ext uri="{FF2B5EF4-FFF2-40B4-BE49-F238E27FC236}">
                <a16:creationId xmlns:a16="http://schemas.microsoft.com/office/drawing/2014/main" id="{37D673A2-6E42-C28C-00F4-44556B5BF837}"/>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11100101" y="4529008"/>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7" name="flag_egypt">
            <a:extLst>
              <a:ext uri="{FF2B5EF4-FFF2-40B4-BE49-F238E27FC236}">
                <a16:creationId xmlns:a16="http://schemas.microsoft.com/office/drawing/2014/main" id="{E6A97ECD-4CCB-3A19-554C-77E7E2D26A0B}"/>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10713994" y="4536719"/>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flag_UAE">
            <a:extLst>
              <a:ext uri="{FF2B5EF4-FFF2-40B4-BE49-F238E27FC236}">
                <a16:creationId xmlns:a16="http://schemas.microsoft.com/office/drawing/2014/main" id="{A16CED3B-E63E-18D4-BE6A-C09B944F0DA3}"/>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11114121" y="4059181"/>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9" name="Picture 4">
            <a:extLst>
              <a:ext uri="{FF2B5EF4-FFF2-40B4-BE49-F238E27FC236}">
                <a16:creationId xmlns:a16="http://schemas.microsoft.com/office/drawing/2014/main" id="{71AC1080-A6B5-8B4B-83F7-4CA0E843035B}"/>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0707306" y="5563195"/>
            <a:ext cx="335267" cy="2414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flag_UAE">
            <a:extLst>
              <a:ext uri="{FF2B5EF4-FFF2-40B4-BE49-F238E27FC236}">
                <a16:creationId xmlns:a16="http://schemas.microsoft.com/office/drawing/2014/main" id="{110C03F0-1075-A377-5BE3-15E2EB0EA937}"/>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11096028" y="5085694"/>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flag_UAE">
            <a:extLst>
              <a:ext uri="{FF2B5EF4-FFF2-40B4-BE49-F238E27FC236}">
                <a16:creationId xmlns:a16="http://schemas.microsoft.com/office/drawing/2014/main" id="{9CD9B219-644D-5139-86B8-D30CB6973866}"/>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11095504" y="5557205"/>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4" descr="2,400+ Qatar Qatari Flag Stock Illustrations, Royalty-Free Vector Graphics  &amp; Clip Art - iStock">
            <a:extLst>
              <a:ext uri="{FF2B5EF4-FFF2-40B4-BE49-F238E27FC236}">
                <a16:creationId xmlns:a16="http://schemas.microsoft.com/office/drawing/2014/main" id="{9B679FA5-5914-6942-881C-A68A382F9A92}"/>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0707304" y="5088414"/>
            <a:ext cx="294741" cy="25158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3" name="flag_UAE">
            <a:extLst>
              <a:ext uri="{FF2B5EF4-FFF2-40B4-BE49-F238E27FC236}">
                <a16:creationId xmlns:a16="http://schemas.microsoft.com/office/drawing/2014/main" id="{FFF5DCE0-AB36-F716-219A-C9F75C5313C6}"/>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11114120" y="5980849"/>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4" name="Picture 2" descr="‫علم المغرب from ar.wikipedia.org‬‎">
            <a:extLst>
              <a:ext uri="{FF2B5EF4-FFF2-40B4-BE49-F238E27FC236}">
                <a16:creationId xmlns:a16="http://schemas.microsoft.com/office/drawing/2014/main" id="{247A7552-C4EC-18EF-406A-BFE00FEA39B9}"/>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706354" y="2066552"/>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5" name="Picture 2" descr="‫علم المغرب from ar.wikipedia.org‬‎">
            <a:extLst>
              <a:ext uri="{FF2B5EF4-FFF2-40B4-BE49-F238E27FC236}">
                <a16:creationId xmlns:a16="http://schemas.microsoft.com/office/drawing/2014/main" id="{830067DE-2C96-398B-A6E2-58DBEA64F31D}"/>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726551" y="5980849"/>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9" name="flag_jordan">
            <a:extLst>
              <a:ext uri="{FF2B5EF4-FFF2-40B4-BE49-F238E27FC236}">
                <a16:creationId xmlns:a16="http://schemas.microsoft.com/office/drawing/2014/main" id="{50896390-66AB-E6D3-0F4A-20D6BF4DB3EC}"/>
              </a:ext>
            </a:extLst>
          </p:cNvPr>
          <p:cNvPicPr>
            <a:picLocks noChangeAspect="1" noChangeArrowheads="1"/>
          </p:cNvPicPr>
          <p:nvPr/>
        </p:nvPicPr>
        <p:blipFill rotWithShape="1">
          <a:blip r:embed="rId13" cstate="email">
            <a:extLst>
              <a:ext uri="{28A0092B-C50C-407E-A947-70E740481C1C}">
                <a14:useLocalDpi xmlns:a14="http://schemas.microsoft.com/office/drawing/2010/main"/>
              </a:ext>
            </a:extLst>
          </a:blip>
          <a:srcRect/>
          <a:stretch/>
        </p:blipFill>
        <p:spPr bwMode="auto">
          <a:xfrm>
            <a:off x="10726551" y="4074958"/>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19050">
                <a:gradFill flip="none" rotWithShape="1">
                  <a:gsLst>
                    <a:gs pos="0">
                      <a:schemeClr val="accent2"/>
                    </a:gs>
                    <a:gs pos="100000">
                      <a:schemeClr val="tx2"/>
                    </a:gs>
                  </a:gsLst>
                  <a:lin ang="2700000" scaled="1"/>
                  <a:tileRect/>
                </a:gradFill>
              </a14:hiddenLine>
            </a:ext>
          </a:extLst>
        </p:spPr>
      </p:pic>
      <p:sp>
        <p:nvSpPr>
          <p:cNvPr id="50" name="Title 2">
            <a:extLst>
              <a:ext uri="{FF2B5EF4-FFF2-40B4-BE49-F238E27FC236}">
                <a16:creationId xmlns:a16="http://schemas.microsoft.com/office/drawing/2014/main" id="{A934FFF4-B00F-707E-BF93-DAD365FBE75B}"/>
              </a:ext>
            </a:extLst>
          </p:cNvPr>
          <p:cNvSpPr txBox="1">
            <a:spLocks/>
          </p:cNvSpPr>
          <p:nvPr/>
        </p:nvSpPr>
        <p:spPr>
          <a:xfrm flipH="1">
            <a:off x="287403" y="572893"/>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USD 2 Billion </a:t>
            </a:r>
          </a:p>
        </p:txBody>
      </p:sp>
      <p:pic>
        <p:nvPicPr>
          <p:cNvPr id="27" name="flag_UAE">
            <a:extLst>
              <a:ext uri="{FF2B5EF4-FFF2-40B4-BE49-F238E27FC236}">
                <a16:creationId xmlns:a16="http://schemas.microsoft.com/office/drawing/2014/main" id="{EDF46AA3-C52C-C78F-0101-260A9545400D}"/>
              </a:ext>
            </a:extLst>
          </p:cNvPr>
          <p:cNvPicPr>
            <a:picLocks noChangeAspect="1" noChangeArrowheads="1"/>
          </p:cNvPicPr>
          <p:nvPr/>
        </p:nvPicPr>
        <p:blipFill rotWithShape="1">
          <a:blip r:embed="rId14" cstate="email">
            <a:extLst>
              <a:ext uri="{28A0092B-C50C-407E-A947-70E740481C1C}">
                <a14:useLocalDpi xmlns:a14="http://schemas.microsoft.com/office/drawing/2010/main"/>
              </a:ext>
            </a:extLst>
          </a:blip>
          <a:srcRect/>
          <a:stretch/>
        </p:blipFill>
        <p:spPr bwMode="auto">
          <a:xfrm>
            <a:off x="10713994" y="6482573"/>
            <a:ext cx="265278" cy="23009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flag_egypt">
            <a:extLst>
              <a:ext uri="{FF2B5EF4-FFF2-40B4-BE49-F238E27FC236}">
                <a16:creationId xmlns:a16="http://schemas.microsoft.com/office/drawing/2014/main" id="{B1317130-7CE4-B8E2-01C7-4E8015071CDF}"/>
              </a:ext>
            </a:extLst>
          </p:cNvPr>
          <p:cNvPicPr>
            <a:picLocks noChangeAspect="1" noChangeArrowheads="1"/>
          </p:cNvPicPr>
          <p:nvPr/>
        </p:nvPicPr>
        <p:blipFill rotWithShape="1">
          <a:blip r:embed="rId15" cstate="email">
            <a:extLst>
              <a:ext uri="{28A0092B-C50C-407E-A947-70E740481C1C}">
                <a14:useLocalDpi xmlns:a14="http://schemas.microsoft.com/office/drawing/2010/main"/>
              </a:ext>
            </a:extLst>
          </a:blip>
          <a:srcRect/>
          <a:stretch/>
        </p:blipFill>
        <p:spPr bwMode="auto">
          <a:xfrm>
            <a:off x="11013515" y="6473545"/>
            <a:ext cx="265278" cy="23009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custDataLst>
      <p:custData r:id="rId1"/>
    </p:custDataLst>
    <p:extLst>
      <p:ext uri="{BB962C8B-B14F-4D97-AF65-F5344CB8AC3E}">
        <p14:creationId xmlns:p14="http://schemas.microsoft.com/office/powerpoint/2010/main" val="14303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236ECA-D0EE-C278-4F67-469E26F5C07B}"/>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id="{0F921E9F-EC1B-7532-5F6A-14B99C4E592D}"/>
              </a:ext>
            </a:extLst>
          </p:cNvPr>
          <p:cNvGraphicFramePr>
            <a:graphicFrameLocks noChangeAspect="1"/>
          </p:cNvGraphicFramePr>
          <p:nvPr>
            <p:custDataLst>
              <p:tags r:id="rId2"/>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name="think-cell Slide" r:id="rId6" imgW="606" imgH="608" progId="TCLayout.ActiveDocument.1">
                  <p:embed/>
                </p:oleObj>
              </mc:Choice>
              <mc:Fallback>
                <p:oleObj name="think-cell Slide" r:id="rId6" imgW="606" imgH="608" progId="TCLayout.ActiveDocument.1">
                  <p:embed/>
                  <p:pic>
                    <p:nvPicPr>
                      <p:cNvPr id="4" name="Object 3" hidden="1">
                        <a:extLst>
                          <a:ext uri="{FF2B5EF4-FFF2-40B4-BE49-F238E27FC236}">
                            <a16:creationId xmlns:a16="http://schemas.microsoft.com/office/drawing/2014/main" id="{0F921E9F-EC1B-7532-5F6A-14B99C4E592D}"/>
                          </a:ext>
                        </a:extLst>
                      </p:cNvPr>
                      <p:cNvPicPr/>
                      <p:nvPr/>
                    </p:nvPicPr>
                    <p:blipFill>
                      <a:blip r:embed="rId7"/>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75FA966-B8DD-6421-000B-F29560811D04}"/>
              </a:ext>
            </a:extLst>
          </p:cNvPr>
          <p:cNvSpPr/>
          <p:nvPr>
            <p:custDataLst>
              <p:tags r:id="rId3"/>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id="{83CD3256-62EA-9519-7D29-0CEB218EC9E2}"/>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Steps to submit a project within the industrial partnership</a:t>
            </a:r>
          </a:p>
        </p:txBody>
      </p:sp>
      <p:cxnSp>
        <p:nvCxnSpPr>
          <p:cNvPr id="2" name="Straight Connector 1">
            <a:extLst>
              <a:ext uri="{FF2B5EF4-FFF2-40B4-BE49-F238E27FC236}">
                <a16:creationId xmlns:a16="http://schemas.microsoft.com/office/drawing/2014/main" id="{3FADF569-19AA-1E53-9878-4A5B9B6A1A92}"/>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17">
            <a:extLst>
              <a:ext uri="{FF2B5EF4-FFF2-40B4-BE49-F238E27FC236}">
                <a16:creationId xmlns:a16="http://schemas.microsoft.com/office/drawing/2014/main" id="{D4DDF13F-1962-93A0-C136-9BEBE40714A2}"/>
              </a:ext>
            </a:extLst>
          </p:cNvPr>
          <p:cNvSpPr/>
          <p:nvPr/>
        </p:nvSpPr>
        <p:spPr>
          <a:xfrm rot="10800000">
            <a:off x="12056882" y="0"/>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9" name="Rectangle 8">
            <a:extLst>
              <a:ext uri="{FF2B5EF4-FFF2-40B4-BE49-F238E27FC236}">
                <a16:creationId xmlns:a16="http://schemas.microsoft.com/office/drawing/2014/main" id="{43716B24-C158-91FB-4835-76CACB2D552B}"/>
              </a:ext>
            </a:extLst>
          </p:cNvPr>
          <p:cNvSpPr/>
          <p:nvPr/>
        </p:nvSpPr>
        <p:spPr>
          <a:xfrm>
            <a:off x="174526" y="959495"/>
            <a:ext cx="11730071" cy="3882538"/>
          </a:xfrm>
          <a:prstGeom prst="rect">
            <a:avLst/>
          </a:prstGeom>
        </p:spPr>
        <p:txBody>
          <a:bodyPr wrap="square">
            <a:spAutoFit/>
          </a:bodyPr>
          <a:lstStyle/>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Complete the industrial project proposal form and submit to the ministry's working team in the concerned country.</a:t>
            </a:r>
          </a:p>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Initial assessment of the project  , based on alignment with the strategic objectives, feasibility, readiness level, and anticipated impact.</a:t>
            </a:r>
          </a:p>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Approval for the project from the Executive Committee.</a:t>
            </a:r>
          </a:p>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Announce the project during the higher Committee meeting.</a:t>
            </a:r>
          </a:p>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Ongoing monitoring and support of the project</a:t>
            </a:r>
          </a:p>
        </p:txBody>
      </p:sp>
    </p:spTree>
    <p:custDataLst>
      <p:custData r:id="rId1"/>
    </p:custDataLst>
    <p:extLst>
      <p:ext uri="{BB962C8B-B14F-4D97-AF65-F5344CB8AC3E}">
        <p14:creationId xmlns:p14="http://schemas.microsoft.com/office/powerpoint/2010/main" val="1065222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3B367B8E-75CF-469D-9D30-D0B38BCD23DD}"/>
              </a:ext>
            </a:extLst>
          </p:cNvPr>
          <p:cNvSpPr/>
          <p:nvPr/>
        </p:nvSpPr>
        <p:spPr>
          <a:xfrm flipH="1">
            <a:off x="379544" y="279605"/>
            <a:ext cx="1836771" cy="439347"/>
          </a:xfrm>
          <a:prstGeom prst="rect">
            <a:avLst/>
          </a:prstGeom>
          <a:solidFill>
            <a:srgbClr val="7F6000"/>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146304" rtlCol="0" anchor="ctr"/>
          <a:lstStyle/>
          <a:p>
            <a:pPr algn="ctr"/>
            <a:r>
              <a:rPr lang="en-US" sz="1600" b="1" dirty="0">
                <a:solidFill>
                  <a:schemeClr val="bg1"/>
                </a:solidFill>
                <a:latin typeface="Tajawal" panose="020B0604020202020204" charset="-78"/>
              </a:rPr>
              <a:t>Sector</a:t>
            </a:r>
            <a:endParaRPr kumimoji="0" lang="en-US" sz="1600" b="0" i="1" u="none" strike="noStrike" kern="1200" cap="none" spc="0" normalizeH="0" baseline="0" noProof="0" dirty="0">
              <a:ln>
                <a:noFill/>
              </a:ln>
              <a:solidFill>
                <a:schemeClr val="bg1"/>
              </a:solidFill>
              <a:effectLst/>
              <a:uLnTx/>
              <a:uFillTx/>
              <a:latin typeface="Tajawal" panose="020B0604020202020204" charset="-78"/>
            </a:endParaRPr>
          </a:p>
        </p:txBody>
      </p:sp>
      <p:sp>
        <p:nvSpPr>
          <p:cNvPr id="48" name="Rectangle 47">
            <a:extLst>
              <a:ext uri="{FF2B5EF4-FFF2-40B4-BE49-F238E27FC236}">
                <a16:creationId xmlns:a16="http://schemas.microsoft.com/office/drawing/2014/main" id="{3B367B8E-75CF-469D-9D30-D0B38BCD23DD}"/>
              </a:ext>
            </a:extLst>
          </p:cNvPr>
          <p:cNvSpPr/>
          <p:nvPr/>
        </p:nvSpPr>
        <p:spPr>
          <a:xfrm flipH="1">
            <a:off x="2471091" y="279605"/>
            <a:ext cx="2177937" cy="436337"/>
          </a:xfrm>
          <a:prstGeom prst="rect">
            <a:avLst/>
          </a:prstGeom>
          <a:solidFill>
            <a:schemeClr val="bg1"/>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lIns="91440" tIns="144000" rIns="91440" bIns="146304" rtlCol="0" anchor="ctr"/>
          <a:lstStyle/>
          <a:p>
            <a:pPr algn="r"/>
            <a:endParaRPr lang="en-US" sz="1600" dirty="0">
              <a:solidFill>
                <a:schemeClr val="tx1"/>
              </a:solidFill>
              <a:latin typeface="Tajawal" panose="020B0604020202020204" charset="-78"/>
            </a:endParaRPr>
          </a:p>
        </p:txBody>
      </p:sp>
      <p:sp>
        <p:nvSpPr>
          <p:cNvPr id="49" name="Rectangle 48">
            <a:extLst>
              <a:ext uri="{FF2B5EF4-FFF2-40B4-BE49-F238E27FC236}">
                <a16:creationId xmlns:a16="http://schemas.microsoft.com/office/drawing/2014/main" id="{3B367B8E-75CF-469D-9D30-D0B38BCD23DD}"/>
              </a:ext>
            </a:extLst>
          </p:cNvPr>
          <p:cNvSpPr/>
          <p:nvPr/>
        </p:nvSpPr>
        <p:spPr>
          <a:xfrm flipH="1">
            <a:off x="4729166" y="279605"/>
            <a:ext cx="1495568" cy="439347"/>
          </a:xfrm>
          <a:prstGeom prst="rect">
            <a:avLst/>
          </a:prstGeom>
          <a:solidFill>
            <a:srgbClr val="7F6000"/>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146304" rtlCol="0" anchor="ctr"/>
          <a:lstStyle/>
          <a:p>
            <a:pPr algn="ctr"/>
            <a:r>
              <a:rPr lang="en-US" sz="1600" b="1" dirty="0">
                <a:solidFill>
                  <a:schemeClr val="bg1"/>
                </a:solidFill>
              </a:rPr>
              <a:t>Company</a:t>
            </a:r>
          </a:p>
        </p:txBody>
      </p:sp>
      <p:sp>
        <p:nvSpPr>
          <p:cNvPr id="50" name="Rectangle 49">
            <a:extLst>
              <a:ext uri="{FF2B5EF4-FFF2-40B4-BE49-F238E27FC236}">
                <a16:creationId xmlns:a16="http://schemas.microsoft.com/office/drawing/2014/main" id="{3B367B8E-75CF-469D-9D30-D0B38BCD23DD}"/>
              </a:ext>
            </a:extLst>
          </p:cNvPr>
          <p:cNvSpPr/>
          <p:nvPr/>
        </p:nvSpPr>
        <p:spPr>
          <a:xfrm flipH="1">
            <a:off x="6304873" y="279605"/>
            <a:ext cx="2934233" cy="436337"/>
          </a:xfrm>
          <a:prstGeom prst="rect">
            <a:avLst/>
          </a:prstGeom>
          <a:solidFill>
            <a:schemeClr val="bg1"/>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lIns="91440" tIns="144000" rIns="91440" bIns="146304" rtlCol="0" anchor="ctr"/>
          <a:lstStyle/>
          <a:p>
            <a:pPr algn="r"/>
            <a:endParaRPr lang="en-US" sz="1600" dirty="0">
              <a:solidFill>
                <a:schemeClr val="tx1"/>
              </a:solidFill>
            </a:endParaRPr>
          </a:p>
        </p:txBody>
      </p:sp>
      <p:sp>
        <p:nvSpPr>
          <p:cNvPr id="51" name="Rectangle 50">
            <a:extLst>
              <a:ext uri="{FF2B5EF4-FFF2-40B4-BE49-F238E27FC236}">
                <a16:creationId xmlns:a16="http://schemas.microsoft.com/office/drawing/2014/main" id="{3B367B8E-75CF-469D-9D30-D0B38BCD23DD}"/>
              </a:ext>
            </a:extLst>
          </p:cNvPr>
          <p:cNvSpPr/>
          <p:nvPr/>
        </p:nvSpPr>
        <p:spPr>
          <a:xfrm flipH="1">
            <a:off x="379544" y="847961"/>
            <a:ext cx="1836771" cy="439347"/>
          </a:xfrm>
          <a:prstGeom prst="rect">
            <a:avLst/>
          </a:prstGeom>
          <a:solidFill>
            <a:srgbClr val="7F6000"/>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146304" rtlCol="0" anchor="ctr"/>
          <a:lstStyle/>
          <a:p>
            <a:pPr algn="ctr"/>
            <a:r>
              <a:rPr lang="en-US" sz="1600" b="1" noProof="0" dirty="0">
                <a:solidFill>
                  <a:schemeClr val="bg1"/>
                </a:solidFill>
                <a:latin typeface="Tajawal" panose="020B0604020202020204" charset="-78"/>
              </a:rPr>
              <a:t>Contact name</a:t>
            </a:r>
            <a:endParaRPr kumimoji="0" lang="en-US" sz="1600" b="0" i="1" u="none" strike="noStrike" kern="1200" cap="none" spc="0" normalizeH="0" baseline="0" noProof="0" dirty="0">
              <a:ln>
                <a:noFill/>
              </a:ln>
              <a:solidFill>
                <a:schemeClr val="bg1"/>
              </a:solidFill>
              <a:effectLst/>
              <a:uLnTx/>
              <a:uFillTx/>
              <a:latin typeface="Tajawal" panose="020B0604020202020204" charset="-78"/>
            </a:endParaRPr>
          </a:p>
        </p:txBody>
      </p:sp>
      <p:sp>
        <p:nvSpPr>
          <p:cNvPr id="52" name="Rectangle 51">
            <a:extLst>
              <a:ext uri="{FF2B5EF4-FFF2-40B4-BE49-F238E27FC236}">
                <a16:creationId xmlns:a16="http://schemas.microsoft.com/office/drawing/2014/main" id="{3B367B8E-75CF-469D-9D30-D0B38BCD23DD}"/>
              </a:ext>
            </a:extLst>
          </p:cNvPr>
          <p:cNvSpPr/>
          <p:nvPr/>
        </p:nvSpPr>
        <p:spPr>
          <a:xfrm flipH="1">
            <a:off x="2471090" y="847961"/>
            <a:ext cx="3753644" cy="439347"/>
          </a:xfrm>
          <a:prstGeom prst="rect">
            <a:avLst/>
          </a:prstGeom>
          <a:solidFill>
            <a:schemeClr val="bg1"/>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lIns="91440" tIns="144000" rIns="91440" bIns="146304" rtlCol="0" anchor="ctr"/>
          <a:lstStyle/>
          <a:p>
            <a:pPr algn="r"/>
            <a:endParaRPr lang="en-US" sz="1600" dirty="0">
              <a:solidFill>
                <a:schemeClr val="tx1"/>
              </a:solidFill>
            </a:endParaRPr>
          </a:p>
        </p:txBody>
      </p:sp>
      <p:sp>
        <p:nvSpPr>
          <p:cNvPr id="53" name="Rectangle 52">
            <a:extLst>
              <a:ext uri="{FF2B5EF4-FFF2-40B4-BE49-F238E27FC236}">
                <a16:creationId xmlns:a16="http://schemas.microsoft.com/office/drawing/2014/main" id="{3B367B8E-75CF-469D-9D30-D0B38BCD23DD}"/>
              </a:ext>
            </a:extLst>
          </p:cNvPr>
          <p:cNvSpPr/>
          <p:nvPr/>
        </p:nvSpPr>
        <p:spPr>
          <a:xfrm flipH="1">
            <a:off x="6362211" y="847961"/>
            <a:ext cx="1836771" cy="439347"/>
          </a:xfrm>
          <a:prstGeom prst="rect">
            <a:avLst/>
          </a:prstGeom>
          <a:solidFill>
            <a:srgbClr val="7F6000"/>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146304" rtlCol="0" anchor="ctr"/>
          <a:lstStyle/>
          <a:p>
            <a:pPr algn="ctr"/>
            <a:r>
              <a:rPr lang="en-US" sz="1600" b="1" dirty="0">
                <a:solidFill>
                  <a:schemeClr val="bg1"/>
                </a:solidFill>
              </a:rPr>
              <a:t>Title</a:t>
            </a:r>
          </a:p>
        </p:txBody>
      </p:sp>
      <p:sp>
        <p:nvSpPr>
          <p:cNvPr id="54" name="Rectangle 53">
            <a:extLst>
              <a:ext uri="{FF2B5EF4-FFF2-40B4-BE49-F238E27FC236}">
                <a16:creationId xmlns:a16="http://schemas.microsoft.com/office/drawing/2014/main" id="{3B367B8E-75CF-469D-9D30-D0B38BCD23DD}"/>
              </a:ext>
            </a:extLst>
          </p:cNvPr>
          <p:cNvSpPr/>
          <p:nvPr/>
        </p:nvSpPr>
        <p:spPr>
          <a:xfrm flipH="1">
            <a:off x="8336460" y="847961"/>
            <a:ext cx="3648273" cy="439347"/>
          </a:xfrm>
          <a:prstGeom prst="rect">
            <a:avLst/>
          </a:prstGeom>
          <a:solidFill>
            <a:schemeClr val="bg1"/>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lIns="91440" tIns="144000" rIns="91440" bIns="146304" rtlCol="0" anchor="ctr"/>
          <a:lstStyle/>
          <a:p>
            <a:pPr algn="r"/>
            <a:endParaRPr lang="en-US" sz="1600" dirty="0">
              <a:solidFill>
                <a:schemeClr val="tx1"/>
              </a:solidFill>
            </a:endParaRPr>
          </a:p>
        </p:txBody>
      </p:sp>
      <p:sp>
        <p:nvSpPr>
          <p:cNvPr id="55" name="Rectangle 54">
            <a:extLst>
              <a:ext uri="{FF2B5EF4-FFF2-40B4-BE49-F238E27FC236}">
                <a16:creationId xmlns:a16="http://schemas.microsoft.com/office/drawing/2014/main" id="{3B367B8E-75CF-469D-9D30-D0B38BCD23DD}"/>
              </a:ext>
            </a:extLst>
          </p:cNvPr>
          <p:cNvSpPr/>
          <p:nvPr/>
        </p:nvSpPr>
        <p:spPr>
          <a:xfrm flipH="1">
            <a:off x="379544" y="1951093"/>
            <a:ext cx="1836771" cy="439347"/>
          </a:xfrm>
          <a:prstGeom prst="rect">
            <a:avLst/>
          </a:prstGeom>
          <a:solidFill>
            <a:srgbClr val="7F6000"/>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146304" rtlCol="0" anchor="ctr"/>
          <a:lstStyle/>
          <a:p>
            <a:pPr algn="ctr"/>
            <a:r>
              <a:rPr lang="en-US" sz="1600" b="1" dirty="0">
                <a:solidFill>
                  <a:schemeClr val="bg1"/>
                </a:solidFill>
                <a:latin typeface="Tajawal" panose="020B0604020202020204" charset="-78"/>
              </a:rPr>
              <a:t>Project</a:t>
            </a:r>
            <a:endParaRPr lang="en-US" sz="1600" i="1" dirty="0">
              <a:solidFill>
                <a:schemeClr val="bg1"/>
              </a:solidFill>
              <a:latin typeface="Tajawal" panose="020B0604020202020204" charset="-78"/>
            </a:endParaRPr>
          </a:p>
        </p:txBody>
      </p:sp>
      <p:sp>
        <p:nvSpPr>
          <p:cNvPr id="56" name="Rectangle 55">
            <a:extLst>
              <a:ext uri="{FF2B5EF4-FFF2-40B4-BE49-F238E27FC236}">
                <a16:creationId xmlns:a16="http://schemas.microsoft.com/office/drawing/2014/main" id="{3B367B8E-75CF-469D-9D30-D0B38BCD23DD}"/>
              </a:ext>
            </a:extLst>
          </p:cNvPr>
          <p:cNvSpPr/>
          <p:nvPr/>
        </p:nvSpPr>
        <p:spPr>
          <a:xfrm flipH="1">
            <a:off x="2471090" y="1951093"/>
            <a:ext cx="9513643" cy="439347"/>
          </a:xfrm>
          <a:prstGeom prst="rect">
            <a:avLst/>
          </a:prstGeom>
          <a:solidFill>
            <a:schemeClr val="bg1"/>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lIns="91440" tIns="144000" rIns="91440" bIns="146304" rtlCol="0" anchor="ctr"/>
          <a:lstStyle/>
          <a:p>
            <a:r>
              <a:rPr lang="en-US" sz="1600" dirty="0">
                <a:solidFill>
                  <a:srgbClr val="817A6C"/>
                </a:solidFill>
                <a:latin typeface="Arial" panose="020B0604020202020204" pitchFamily="34" charset="0"/>
                <a:cs typeface="Arial" panose="020B0604020202020204" pitchFamily="34" charset="0"/>
              </a:rPr>
              <a:t>Summarized project name</a:t>
            </a:r>
          </a:p>
        </p:txBody>
      </p:sp>
      <p:sp>
        <p:nvSpPr>
          <p:cNvPr id="57" name="Rectangle 56">
            <a:extLst>
              <a:ext uri="{FF2B5EF4-FFF2-40B4-BE49-F238E27FC236}">
                <a16:creationId xmlns:a16="http://schemas.microsoft.com/office/drawing/2014/main" id="{3B367B8E-75CF-469D-9D30-D0B38BCD23DD}"/>
              </a:ext>
            </a:extLst>
          </p:cNvPr>
          <p:cNvSpPr/>
          <p:nvPr/>
        </p:nvSpPr>
        <p:spPr>
          <a:xfrm flipH="1">
            <a:off x="379544" y="2522459"/>
            <a:ext cx="1836771" cy="4212170"/>
          </a:xfrm>
          <a:prstGeom prst="rect">
            <a:avLst/>
          </a:prstGeom>
          <a:solidFill>
            <a:srgbClr val="7F6000"/>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146304" rtlCol="0" anchor="ctr"/>
          <a:lstStyle/>
          <a:p>
            <a:pPr algn="ctr"/>
            <a:r>
              <a:rPr lang="en-US" sz="1600" b="1" dirty="0">
                <a:solidFill>
                  <a:schemeClr val="bg1"/>
                </a:solidFill>
                <a:latin typeface="Tajawal" panose="020B0604020202020204" charset="-78"/>
              </a:rPr>
              <a:t>Project description and details</a:t>
            </a:r>
            <a:endParaRPr lang="en-US" sz="1600" i="1" dirty="0">
              <a:solidFill>
                <a:schemeClr val="bg1"/>
              </a:solidFill>
              <a:latin typeface="Tajawal" panose="020B0604020202020204" charset="-78"/>
            </a:endParaRPr>
          </a:p>
        </p:txBody>
      </p:sp>
      <p:sp>
        <p:nvSpPr>
          <p:cNvPr id="58" name="Rectangle 57">
            <a:extLst>
              <a:ext uri="{FF2B5EF4-FFF2-40B4-BE49-F238E27FC236}">
                <a16:creationId xmlns:a16="http://schemas.microsoft.com/office/drawing/2014/main" id="{3B367B8E-75CF-469D-9D30-D0B38BCD23DD}"/>
              </a:ext>
            </a:extLst>
          </p:cNvPr>
          <p:cNvSpPr/>
          <p:nvPr/>
        </p:nvSpPr>
        <p:spPr>
          <a:xfrm flipH="1">
            <a:off x="2471090" y="2522459"/>
            <a:ext cx="9513643" cy="4212170"/>
          </a:xfrm>
          <a:prstGeom prst="rect">
            <a:avLst/>
          </a:prstGeom>
          <a:solidFill>
            <a:schemeClr val="bg1"/>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lIns="91440" tIns="144000" rIns="91440" bIns="146304" rtlCol="0" anchor="ctr"/>
          <a:lstStyle/>
          <a:p>
            <a:pPr marL="285750" indent="-285750">
              <a:buFont typeface="Arial" panose="020B0604020202020204" pitchFamily="34" charset="0"/>
              <a:buChar char="•"/>
            </a:pPr>
            <a:r>
              <a:rPr lang="en-US" sz="1600" dirty="0">
                <a:solidFill>
                  <a:srgbClr val="817A6C"/>
                </a:solidFill>
                <a:latin typeface="Arial" panose="020B0604020202020204" pitchFamily="34" charset="0"/>
                <a:cs typeface="Arial" panose="020B0604020202020204" pitchFamily="34" charset="0"/>
              </a:rPr>
              <a:t>Description (details about the project, green field or expansion) e.g. setting up a facility to manufacture xxx in </a:t>
            </a:r>
            <a:r>
              <a:rPr lang="en-US" sz="1600" dirty="0" err="1">
                <a:solidFill>
                  <a:srgbClr val="817A6C"/>
                </a:solidFill>
                <a:latin typeface="Arial" panose="020B0604020202020204" pitchFamily="34" charset="0"/>
                <a:cs typeface="Arial" panose="020B0604020202020204" pitchFamily="34" charset="0"/>
              </a:rPr>
              <a:t>yyy</a:t>
            </a:r>
            <a:r>
              <a:rPr lang="en-US" sz="1600" dirty="0">
                <a:solidFill>
                  <a:srgbClr val="817A6C"/>
                </a:solidFill>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r>
              <a:rPr lang="en-US" sz="1600" dirty="0">
                <a:solidFill>
                  <a:srgbClr val="817A6C"/>
                </a:solidFill>
                <a:latin typeface="Arial" panose="020B0604020202020204" pitchFamily="34" charset="0"/>
                <a:cs typeface="Arial" panose="020B0604020202020204" pitchFamily="34" charset="0"/>
              </a:rPr>
              <a:t>Capacity</a:t>
            </a:r>
          </a:p>
          <a:p>
            <a:pPr marL="285750" indent="-285750">
              <a:buFont typeface="Arial" panose="020B0604020202020204" pitchFamily="34" charset="0"/>
              <a:buChar char="•"/>
            </a:pPr>
            <a:r>
              <a:rPr lang="en-US" sz="1600" dirty="0">
                <a:solidFill>
                  <a:srgbClr val="817A6C"/>
                </a:solidFill>
                <a:latin typeface="Arial" panose="020B0604020202020204" pitchFamily="34" charset="0"/>
                <a:cs typeface="Arial" panose="020B0604020202020204" pitchFamily="34" charset="0"/>
              </a:rPr>
              <a:t>Estimated investment amount </a:t>
            </a:r>
          </a:p>
          <a:p>
            <a:pPr marL="285750" indent="-285750">
              <a:buFont typeface="Arial" panose="020B0604020202020204" pitchFamily="34" charset="0"/>
              <a:buChar char="•"/>
            </a:pPr>
            <a:r>
              <a:rPr lang="en-US" sz="1600" dirty="0">
                <a:solidFill>
                  <a:srgbClr val="817A6C"/>
                </a:solidFill>
                <a:latin typeface="Arial" panose="020B0604020202020204" pitchFamily="34" charset="0"/>
                <a:cs typeface="Arial" panose="020B0604020202020204" pitchFamily="34" charset="0"/>
              </a:rPr>
              <a:t>Country roles what is the specific role of any of the countries in the partnership </a:t>
            </a:r>
          </a:p>
          <a:p>
            <a:pPr marL="285750" indent="-285750">
              <a:buFont typeface="Arial" panose="020B0604020202020204" pitchFamily="34" charset="0"/>
              <a:buChar char="•"/>
            </a:pPr>
            <a:r>
              <a:rPr lang="en-US" sz="1600" dirty="0">
                <a:solidFill>
                  <a:srgbClr val="817A6C"/>
                </a:solidFill>
                <a:latin typeface="Arial" panose="020B0604020202020204" pitchFamily="34" charset="0"/>
                <a:cs typeface="Arial" panose="020B0604020202020204" pitchFamily="34" charset="0"/>
              </a:rPr>
              <a:t>Products to be manufactured</a:t>
            </a:r>
          </a:p>
          <a:p>
            <a:pPr marL="285750" indent="-285750">
              <a:buFont typeface="Arial" panose="020B0604020202020204" pitchFamily="34" charset="0"/>
              <a:buChar char="•"/>
            </a:pPr>
            <a:r>
              <a:rPr lang="en-US" sz="1600" dirty="0">
                <a:solidFill>
                  <a:srgbClr val="817A6C"/>
                </a:solidFill>
                <a:latin typeface="Arial" panose="020B0604020202020204" pitchFamily="34" charset="0"/>
                <a:cs typeface="Arial" panose="020B0604020202020204" pitchFamily="34" charset="0"/>
              </a:rPr>
              <a:t>Preliminary market and demand data if available</a:t>
            </a:r>
          </a:p>
          <a:p>
            <a:pPr marL="285750" indent="-285750">
              <a:buFont typeface="Arial" panose="020B0604020202020204" pitchFamily="34" charset="0"/>
              <a:buChar char="•"/>
            </a:pPr>
            <a:r>
              <a:rPr lang="en-US" sz="1600" dirty="0">
                <a:solidFill>
                  <a:srgbClr val="817A6C"/>
                </a:solidFill>
                <a:latin typeface="Arial" panose="020B0604020202020204" pitchFamily="34" charset="0"/>
                <a:cs typeface="Arial" panose="020B0604020202020204" pitchFamily="34" charset="0"/>
              </a:rPr>
              <a:t>Extra slides can be used to fit more details</a:t>
            </a:r>
          </a:p>
          <a:p>
            <a:pPr marL="285750" indent="-285750">
              <a:buFont typeface="Arial" panose="020B0604020202020204" pitchFamily="34" charset="0"/>
              <a:buChar char="•"/>
            </a:pPr>
            <a:endParaRPr lang="en-US" sz="1600" dirty="0">
              <a:solidFill>
                <a:srgbClr val="817A6C"/>
              </a:solidFill>
              <a:latin typeface="Arial" panose="020B0604020202020204" pitchFamily="34" charset="0"/>
              <a:cs typeface="Arial" panose="020B0604020202020204" pitchFamily="34" charset="0"/>
            </a:endParaRPr>
          </a:p>
        </p:txBody>
      </p:sp>
      <p:sp>
        <p:nvSpPr>
          <p:cNvPr id="59" name="Rectangle 58">
            <a:extLst>
              <a:ext uri="{FF2B5EF4-FFF2-40B4-BE49-F238E27FC236}">
                <a16:creationId xmlns:a16="http://schemas.microsoft.com/office/drawing/2014/main" id="{3B367B8E-75CF-469D-9D30-D0B38BCD23DD}"/>
              </a:ext>
            </a:extLst>
          </p:cNvPr>
          <p:cNvSpPr/>
          <p:nvPr/>
        </p:nvSpPr>
        <p:spPr>
          <a:xfrm flipH="1">
            <a:off x="379544" y="1399527"/>
            <a:ext cx="1836771" cy="439347"/>
          </a:xfrm>
          <a:prstGeom prst="rect">
            <a:avLst/>
          </a:prstGeom>
          <a:solidFill>
            <a:srgbClr val="7F6000"/>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146304" rtlCol="0" anchor="ctr"/>
          <a:lstStyle/>
          <a:p>
            <a:pPr algn="ctr"/>
            <a:r>
              <a:rPr lang="en-US" sz="1600" b="1" noProof="0" dirty="0">
                <a:solidFill>
                  <a:schemeClr val="bg1"/>
                </a:solidFill>
                <a:latin typeface="Tajawal" panose="020B0604020202020204" charset="-78"/>
              </a:rPr>
              <a:t>Contact details</a:t>
            </a:r>
            <a:endParaRPr kumimoji="0" lang="en-US" sz="1600" b="0" i="1" u="none" strike="noStrike" kern="1200" cap="none" spc="0" normalizeH="0" baseline="0" noProof="0" dirty="0">
              <a:ln>
                <a:noFill/>
              </a:ln>
              <a:solidFill>
                <a:schemeClr val="bg1"/>
              </a:solidFill>
              <a:effectLst/>
              <a:uLnTx/>
              <a:uFillTx/>
              <a:latin typeface="Tajawal" panose="020B0604020202020204" charset="-78"/>
            </a:endParaRPr>
          </a:p>
        </p:txBody>
      </p:sp>
      <p:sp>
        <p:nvSpPr>
          <p:cNvPr id="60" name="Rectangle 59">
            <a:extLst>
              <a:ext uri="{FF2B5EF4-FFF2-40B4-BE49-F238E27FC236}">
                <a16:creationId xmlns:a16="http://schemas.microsoft.com/office/drawing/2014/main" id="{3B367B8E-75CF-469D-9D30-D0B38BCD23DD}"/>
              </a:ext>
            </a:extLst>
          </p:cNvPr>
          <p:cNvSpPr/>
          <p:nvPr/>
        </p:nvSpPr>
        <p:spPr>
          <a:xfrm flipH="1">
            <a:off x="2471090" y="1399527"/>
            <a:ext cx="9513643" cy="439347"/>
          </a:xfrm>
          <a:prstGeom prst="rect">
            <a:avLst/>
          </a:prstGeom>
          <a:solidFill>
            <a:schemeClr val="bg1"/>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lIns="91440" tIns="144000" rIns="91440" bIns="146304" rtlCol="0" anchor="ctr"/>
          <a:lstStyle/>
          <a:p>
            <a:r>
              <a:rPr lang="en-US" sz="1600" dirty="0">
                <a:solidFill>
                  <a:srgbClr val="817A6C"/>
                </a:solidFill>
                <a:latin typeface="Arial" panose="020B0604020202020204" pitchFamily="34" charset="0"/>
                <a:cs typeface="Arial" panose="020B0604020202020204" pitchFamily="34" charset="0"/>
              </a:rPr>
              <a:t>Email, Phone</a:t>
            </a:r>
          </a:p>
        </p:txBody>
      </p:sp>
      <p:sp>
        <p:nvSpPr>
          <p:cNvPr id="63" name="Rectangle 62">
            <a:extLst>
              <a:ext uri="{FF2B5EF4-FFF2-40B4-BE49-F238E27FC236}">
                <a16:creationId xmlns:a16="http://schemas.microsoft.com/office/drawing/2014/main" id="{3B367B8E-75CF-469D-9D30-D0B38BCD23DD}"/>
              </a:ext>
            </a:extLst>
          </p:cNvPr>
          <p:cNvSpPr/>
          <p:nvPr/>
        </p:nvSpPr>
        <p:spPr>
          <a:xfrm flipH="1">
            <a:off x="9311675" y="279605"/>
            <a:ext cx="1220172" cy="436337"/>
          </a:xfrm>
          <a:prstGeom prst="rect">
            <a:avLst/>
          </a:prstGeom>
          <a:solidFill>
            <a:srgbClr val="7F6000"/>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146304" rtlCol="0" anchor="ctr"/>
          <a:lstStyle/>
          <a:p>
            <a:pPr algn="ctr"/>
            <a:r>
              <a:rPr lang="en-US" sz="1600" b="1" dirty="0">
                <a:solidFill>
                  <a:schemeClr val="bg1"/>
                </a:solidFill>
              </a:rPr>
              <a:t>Country</a:t>
            </a:r>
          </a:p>
        </p:txBody>
      </p:sp>
      <p:sp>
        <p:nvSpPr>
          <p:cNvPr id="64" name="Rectangle 63">
            <a:extLst>
              <a:ext uri="{FF2B5EF4-FFF2-40B4-BE49-F238E27FC236}">
                <a16:creationId xmlns:a16="http://schemas.microsoft.com/office/drawing/2014/main" id="{3B367B8E-75CF-469D-9D30-D0B38BCD23DD}"/>
              </a:ext>
            </a:extLst>
          </p:cNvPr>
          <p:cNvSpPr/>
          <p:nvPr/>
        </p:nvSpPr>
        <p:spPr>
          <a:xfrm flipH="1">
            <a:off x="10586665" y="279605"/>
            <a:ext cx="1398068" cy="436337"/>
          </a:xfrm>
          <a:prstGeom prst="rect">
            <a:avLst/>
          </a:prstGeom>
          <a:solidFill>
            <a:schemeClr val="bg1"/>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lIns="91440" tIns="144000" rIns="91440" bIns="146304" rtlCol="0" anchor="ctr"/>
          <a:lstStyle/>
          <a:p>
            <a:pPr algn="r"/>
            <a:endParaRPr lang="en-US" sz="1600" dirty="0">
              <a:solidFill>
                <a:schemeClr val="tx1"/>
              </a:solidFill>
            </a:endParaRPr>
          </a:p>
        </p:txBody>
      </p:sp>
    </p:spTree>
    <p:extLst>
      <p:ext uri="{BB962C8B-B14F-4D97-AF65-F5344CB8AC3E}">
        <p14:creationId xmlns:p14="http://schemas.microsoft.com/office/powerpoint/2010/main" val="38868831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3B367B8E-75CF-469D-9D30-D0B38BCD23DD}"/>
              </a:ext>
            </a:extLst>
          </p:cNvPr>
          <p:cNvSpPr/>
          <p:nvPr/>
        </p:nvSpPr>
        <p:spPr>
          <a:xfrm>
            <a:off x="379544" y="333829"/>
            <a:ext cx="1836771" cy="2113536"/>
          </a:xfrm>
          <a:prstGeom prst="rect">
            <a:avLst/>
          </a:prstGeom>
          <a:solidFill>
            <a:srgbClr val="7F6000"/>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146304" rtlCol="0" anchor="ctr"/>
          <a:lstStyle/>
          <a:p>
            <a:pPr algn="ctr"/>
            <a:r>
              <a:rPr lang="en-US" sz="1600" b="1" dirty="0">
                <a:solidFill>
                  <a:schemeClr val="bg1"/>
                </a:solidFill>
                <a:cs typeface="Tajawal" panose="020B0604020202020204" charset="-78"/>
              </a:rPr>
              <a:t>Incentives and enablers</a:t>
            </a:r>
          </a:p>
        </p:txBody>
      </p:sp>
      <p:sp>
        <p:nvSpPr>
          <p:cNvPr id="58" name="Rectangle 57">
            <a:extLst>
              <a:ext uri="{FF2B5EF4-FFF2-40B4-BE49-F238E27FC236}">
                <a16:creationId xmlns:a16="http://schemas.microsoft.com/office/drawing/2014/main" id="{3B367B8E-75CF-469D-9D30-D0B38BCD23DD}"/>
              </a:ext>
            </a:extLst>
          </p:cNvPr>
          <p:cNvSpPr/>
          <p:nvPr/>
        </p:nvSpPr>
        <p:spPr>
          <a:xfrm>
            <a:off x="2471090" y="333829"/>
            <a:ext cx="9513643" cy="2113536"/>
          </a:xfrm>
          <a:prstGeom prst="rect">
            <a:avLst/>
          </a:prstGeom>
          <a:solidFill>
            <a:schemeClr val="bg1"/>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lIns="91440" tIns="144000" rIns="91440" bIns="146304" rtlCol="0" anchor="ctr"/>
          <a:lstStyle/>
          <a:p>
            <a:r>
              <a:rPr lang="en-US" sz="1600" dirty="0">
                <a:solidFill>
                  <a:srgbClr val="817A6C"/>
                </a:solidFill>
                <a:latin typeface="Arial" panose="020B0604020202020204" pitchFamily="34" charset="0"/>
                <a:cs typeface="Arial" panose="020B0604020202020204" pitchFamily="34" charset="0"/>
              </a:rPr>
              <a:t>Detail the required enablers and incentives and in which country</a:t>
            </a:r>
          </a:p>
          <a:p>
            <a:r>
              <a:rPr lang="en-US" sz="1600" dirty="0">
                <a:solidFill>
                  <a:srgbClr val="817A6C"/>
                </a:solidFill>
                <a:latin typeface="Arial" panose="020B0604020202020204" pitchFamily="34" charset="0"/>
                <a:cs typeface="Arial" panose="020B0604020202020204" pitchFamily="34" charset="0"/>
              </a:rPr>
              <a:t>Examples: </a:t>
            </a:r>
          </a:p>
          <a:p>
            <a:r>
              <a:rPr lang="en-US" sz="1600" dirty="0">
                <a:solidFill>
                  <a:srgbClr val="817A6C"/>
                </a:solidFill>
                <a:latin typeface="Arial" panose="020B0604020202020204" pitchFamily="34" charset="0"/>
                <a:cs typeface="Arial" panose="020B0604020202020204" pitchFamily="34" charset="0"/>
              </a:rPr>
              <a:t>1- require investment of [] USD M</a:t>
            </a:r>
          </a:p>
          <a:p>
            <a:r>
              <a:rPr lang="en-US" sz="1600" dirty="0">
                <a:solidFill>
                  <a:srgbClr val="817A6C"/>
                </a:solidFill>
                <a:latin typeface="Arial" panose="020B0604020202020204" pitchFamily="34" charset="0"/>
                <a:cs typeface="Arial" panose="020B0604020202020204" pitchFamily="34" charset="0"/>
              </a:rPr>
              <a:t>2- require loan of [] USD M</a:t>
            </a:r>
          </a:p>
          <a:p>
            <a:r>
              <a:rPr lang="en-US" sz="1600" dirty="0">
                <a:solidFill>
                  <a:srgbClr val="817A6C"/>
                </a:solidFill>
                <a:latin typeface="Arial" panose="020B0604020202020204" pitchFamily="34" charset="0"/>
                <a:cs typeface="Arial" panose="020B0604020202020204" pitchFamily="34" charset="0"/>
              </a:rPr>
              <a:t>3- Require offtakes/ commercial partnerships</a:t>
            </a:r>
          </a:p>
          <a:p>
            <a:r>
              <a:rPr lang="en-US" sz="1600" dirty="0">
                <a:solidFill>
                  <a:srgbClr val="817A6C"/>
                </a:solidFill>
                <a:latin typeface="Arial" panose="020B0604020202020204" pitchFamily="34" charset="0"/>
                <a:cs typeface="Arial" panose="020B0604020202020204" pitchFamily="34" charset="0"/>
              </a:rPr>
              <a:t>4- technology partnerships </a:t>
            </a:r>
          </a:p>
          <a:p>
            <a:r>
              <a:rPr lang="en-US" sz="1600" dirty="0">
                <a:solidFill>
                  <a:srgbClr val="817A6C"/>
                </a:solidFill>
                <a:latin typeface="Arial" panose="020B0604020202020204" pitchFamily="34" charset="0"/>
                <a:cs typeface="Arial" panose="020B0604020202020204" pitchFamily="34" charset="0"/>
              </a:rPr>
              <a:t>5- other requests for enablers for the project to succeed</a:t>
            </a:r>
          </a:p>
        </p:txBody>
      </p:sp>
      <p:sp>
        <p:nvSpPr>
          <p:cNvPr id="23" name="Rectangle 22">
            <a:extLst>
              <a:ext uri="{FF2B5EF4-FFF2-40B4-BE49-F238E27FC236}">
                <a16:creationId xmlns:a16="http://schemas.microsoft.com/office/drawing/2014/main" id="{3B367B8E-75CF-469D-9D30-D0B38BCD23DD}"/>
              </a:ext>
            </a:extLst>
          </p:cNvPr>
          <p:cNvSpPr/>
          <p:nvPr/>
        </p:nvSpPr>
        <p:spPr>
          <a:xfrm>
            <a:off x="379544" y="2612972"/>
            <a:ext cx="1836771" cy="1972476"/>
          </a:xfrm>
          <a:prstGeom prst="rect">
            <a:avLst/>
          </a:prstGeom>
          <a:solidFill>
            <a:srgbClr val="7F6000"/>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146304" rtlCol="0" anchor="ctr"/>
          <a:lstStyle/>
          <a:p>
            <a:pPr algn="ctr"/>
            <a:r>
              <a:rPr lang="en-US" sz="1600" b="1" dirty="0">
                <a:solidFill>
                  <a:schemeClr val="bg1"/>
                </a:solidFill>
                <a:cs typeface="Tajawal" panose="020B0604020202020204" charset="-78"/>
              </a:rPr>
              <a:t>Partner companies  </a:t>
            </a:r>
          </a:p>
        </p:txBody>
      </p:sp>
      <p:sp>
        <p:nvSpPr>
          <p:cNvPr id="24" name="Rectangle 23">
            <a:extLst>
              <a:ext uri="{FF2B5EF4-FFF2-40B4-BE49-F238E27FC236}">
                <a16:creationId xmlns:a16="http://schemas.microsoft.com/office/drawing/2014/main" id="{3B367B8E-75CF-469D-9D30-D0B38BCD23DD}"/>
              </a:ext>
            </a:extLst>
          </p:cNvPr>
          <p:cNvSpPr/>
          <p:nvPr/>
        </p:nvSpPr>
        <p:spPr>
          <a:xfrm flipH="1">
            <a:off x="379544" y="4803284"/>
            <a:ext cx="1836771" cy="1839564"/>
          </a:xfrm>
          <a:prstGeom prst="rect">
            <a:avLst/>
          </a:prstGeom>
          <a:solidFill>
            <a:srgbClr val="7F6000"/>
          </a:solid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144000" rIns="0" bIns="146304" rtlCol="0" anchor="ctr"/>
          <a:lstStyle/>
          <a:p>
            <a:pPr algn="ctr"/>
            <a:r>
              <a:rPr lang="en-US" sz="1600" b="1" dirty="0">
                <a:solidFill>
                  <a:schemeClr val="bg1"/>
                </a:solidFill>
                <a:cs typeface="Tajawal" panose="020B0604020202020204" charset="-78"/>
              </a:rPr>
              <a:t>Project status</a:t>
            </a:r>
          </a:p>
        </p:txBody>
      </p:sp>
      <p:sp>
        <p:nvSpPr>
          <p:cNvPr id="25" name="Rectangle 24">
            <a:extLst>
              <a:ext uri="{FF2B5EF4-FFF2-40B4-BE49-F238E27FC236}">
                <a16:creationId xmlns:a16="http://schemas.microsoft.com/office/drawing/2014/main" id="{3B367B8E-75CF-469D-9D30-D0B38BCD23DD}"/>
              </a:ext>
            </a:extLst>
          </p:cNvPr>
          <p:cNvSpPr/>
          <p:nvPr/>
        </p:nvSpPr>
        <p:spPr>
          <a:xfrm flipH="1">
            <a:off x="2471090" y="4803284"/>
            <a:ext cx="9513643" cy="1839564"/>
          </a:xfrm>
          <a:prstGeom prst="rect">
            <a:avLst/>
          </a:prstGeom>
          <a:solidFill>
            <a:schemeClr val="bg1"/>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lIns="91440" tIns="144000" rIns="91440" bIns="146304" rtlCol="0" anchor="ctr"/>
          <a:lstStyle/>
          <a:p>
            <a:r>
              <a:rPr lang="en-US" sz="1600" dirty="0">
                <a:solidFill>
                  <a:srgbClr val="817A6C"/>
                </a:solidFill>
                <a:latin typeface="Arial" panose="020B0604020202020204" pitchFamily="34" charset="0"/>
                <a:cs typeface="Arial" panose="020B0604020202020204" pitchFamily="34" charset="0"/>
              </a:rPr>
              <a:t>What is the current status of the project (idea stage, some preliminary feasibility, detailed feasibility, etc.)</a:t>
            </a:r>
            <a:endParaRPr lang="ar-JO" sz="1600" dirty="0">
              <a:solidFill>
                <a:srgbClr val="817A6C"/>
              </a:solidFill>
              <a:latin typeface="Arial" panose="020B0604020202020204" pitchFamily="34" charset="0"/>
              <a:cs typeface="Arial" panose="020B0604020202020204" pitchFamily="34" charset="0"/>
            </a:endParaRPr>
          </a:p>
          <a:p>
            <a:r>
              <a:rPr lang="en-US" sz="1600" dirty="0">
                <a:solidFill>
                  <a:srgbClr val="817A6C"/>
                </a:solidFill>
                <a:latin typeface="Arial" panose="020B0604020202020204" pitchFamily="34" charset="0"/>
                <a:cs typeface="Arial" panose="020B0604020202020204" pitchFamily="34" charset="0"/>
              </a:rPr>
              <a:t>Latest updates</a:t>
            </a:r>
            <a:endParaRPr lang="ar-JO" sz="1600" dirty="0">
              <a:solidFill>
                <a:srgbClr val="817A6C"/>
              </a:solidFill>
              <a:latin typeface="Arial" panose="020B0604020202020204" pitchFamily="34" charset="0"/>
              <a:cs typeface="Arial" panose="020B0604020202020204" pitchFamily="34" charset="0"/>
            </a:endParaRPr>
          </a:p>
          <a:p>
            <a:r>
              <a:rPr lang="en-US" sz="1600" dirty="0">
                <a:solidFill>
                  <a:srgbClr val="817A6C"/>
                </a:solidFill>
                <a:latin typeface="Arial" panose="020B0604020202020204" pitchFamily="34" charset="0"/>
                <a:cs typeface="Arial" panose="020B0604020202020204" pitchFamily="34" charset="0"/>
              </a:rPr>
              <a:t>Was this project discussed with the other companies  involved?</a:t>
            </a:r>
            <a:endParaRPr lang="ar-JO" sz="1600" dirty="0">
              <a:solidFill>
                <a:srgbClr val="817A6C"/>
              </a:solidFill>
              <a:latin typeface="Arial" panose="020B0604020202020204" pitchFamily="34" charset="0"/>
              <a:cs typeface="Arial" panose="020B0604020202020204" pitchFamily="34" charset="0"/>
            </a:endParaRPr>
          </a:p>
        </p:txBody>
      </p:sp>
      <p:graphicFrame>
        <p:nvGraphicFramePr>
          <p:cNvPr id="2" name="Table 1">
            <a:extLst>
              <a:ext uri="{FF2B5EF4-FFF2-40B4-BE49-F238E27FC236}">
                <a16:creationId xmlns:a16="http://schemas.microsoft.com/office/drawing/2014/main" id="{B5559774-B3D7-B593-C005-099D4AB8F171}"/>
              </a:ext>
            </a:extLst>
          </p:cNvPr>
          <p:cNvGraphicFramePr>
            <a:graphicFrameLocks noGrp="1"/>
          </p:cNvGraphicFramePr>
          <p:nvPr>
            <p:extLst>
              <p:ext uri="{D42A27DB-BD31-4B8C-83A1-F6EECF244321}">
                <p14:modId xmlns:p14="http://schemas.microsoft.com/office/powerpoint/2010/main" val="1294911074"/>
              </p:ext>
            </p:extLst>
          </p:nvPr>
        </p:nvGraphicFramePr>
        <p:xfrm>
          <a:off x="2471091" y="2612972"/>
          <a:ext cx="9513642" cy="2179920"/>
        </p:xfrm>
        <a:graphic>
          <a:graphicData uri="http://schemas.openxmlformats.org/drawingml/2006/table">
            <a:tbl>
              <a:tblPr firstRow="1" bandRow="1">
                <a:tableStyleId>{5C22544A-7EE6-4342-B048-85BDC9FD1C3A}</a:tableStyleId>
              </a:tblPr>
              <a:tblGrid>
                <a:gridCol w="3686587">
                  <a:extLst>
                    <a:ext uri="{9D8B030D-6E8A-4147-A177-3AD203B41FA5}">
                      <a16:colId xmlns:a16="http://schemas.microsoft.com/office/drawing/2014/main" val="20000"/>
                    </a:ext>
                  </a:extLst>
                </a:gridCol>
                <a:gridCol w="1955159">
                  <a:extLst>
                    <a:ext uri="{9D8B030D-6E8A-4147-A177-3AD203B41FA5}">
                      <a16:colId xmlns:a16="http://schemas.microsoft.com/office/drawing/2014/main" val="20001"/>
                    </a:ext>
                  </a:extLst>
                </a:gridCol>
                <a:gridCol w="3871896">
                  <a:extLst>
                    <a:ext uri="{9D8B030D-6E8A-4147-A177-3AD203B41FA5}">
                      <a16:colId xmlns:a16="http://schemas.microsoft.com/office/drawing/2014/main" val="20002"/>
                    </a:ext>
                  </a:extLst>
                </a:gridCol>
              </a:tblGrid>
              <a:tr h="400131">
                <a:tc>
                  <a:txBody>
                    <a:bodyPr/>
                    <a:lstStyle/>
                    <a:p>
                      <a:pPr algn="ctr"/>
                      <a:r>
                        <a:rPr lang="en-US" sz="1600" dirty="0">
                          <a:solidFill>
                            <a:schemeClr val="bg1"/>
                          </a:solidFill>
                          <a:latin typeface="Tajawal" panose="020B0604020202020204" charset="-78"/>
                          <a:cs typeface="Tajawal" panose="020B0604020202020204" charset="-78"/>
                        </a:rPr>
                        <a:t>Company</a:t>
                      </a:r>
                    </a:p>
                  </a:txBody>
                  <a:tcPr>
                    <a:lnB w="38100" cap="flat" cmpd="sng" algn="ctr">
                      <a:solidFill>
                        <a:schemeClr val="bg1"/>
                      </a:solidFill>
                      <a:prstDash val="solid"/>
                      <a:round/>
                      <a:headEnd type="none" w="med" len="med"/>
                      <a:tailEnd type="none" w="med" len="med"/>
                    </a:lnB>
                    <a:solidFill>
                      <a:srgbClr val="7F6000"/>
                    </a:solidFill>
                  </a:tcPr>
                </a:tc>
                <a:tc>
                  <a:txBody>
                    <a:bodyPr/>
                    <a:lstStyle/>
                    <a:p>
                      <a:pPr algn="ctr"/>
                      <a:r>
                        <a:rPr lang="en-US" sz="1600" dirty="0">
                          <a:solidFill>
                            <a:schemeClr val="bg1"/>
                          </a:solidFill>
                          <a:latin typeface="Tajawal" panose="020B0604020202020204" charset="-78"/>
                          <a:cs typeface="Tajawal" panose="020B0604020202020204" charset="-78"/>
                        </a:rPr>
                        <a:t>Country</a:t>
                      </a:r>
                    </a:p>
                  </a:txBody>
                  <a:tcPr>
                    <a:lnB w="38100" cap="flat" cmpd="sng" algn="ctr">
                      <a:solidFill>
                        <a:schemeClr val="bg1"/>
                      </a:solidFill>
                      <a:prstDash val="solid"/>
                      <a:round/>
                      <a:headEnd type="none" w="med" len="med"/>
                      <a:tailEnd type="none" w="med" len="med"/>
                    </a:lnB>
                    <a:solidFill>
                      <a:srgbClr val="7F6000"/>
                    </a:solidFill>
                  </a:tcPr>
                </a:tc>
                <a:tc>
                  <a:txBody>
                    <a:bodyPr/>
                    <a:lstStyle/>
                    <a:p>
                      <a:pPr algn="ctr"/>
                      <a:r>
                        <a:rPr lang="en-US" sz="1600" dirty="0">
                          <a:solidFill>
                            <a:schemeClr val="bg1"/>
                          </a:solidFill>
                          <a:latin typeface="Tajawal" panose="020B0604020202020204" charset="-78"/>
                          <a:cs typeface="Tajawal" panose="020B0604020202020204" charset="-78"/>
                        </a:rPr>
                        <a:t>Role</a:t>
                      </a:r>
                    </a:p>
                  </a:txBody>
                  <a:tcPr>
                    <a:lnB w="38100" cap="flat" cmpd="sng" algn="ctr">
                      <a:solidFill>
                        <a:schemeClr val="bg1"/>
                      </a:solidFill>
                      <a:prstDash val="solid"/>
                      <a:round/>
                      <a:headEnd type="none" w="med" len="med"/>
                      <a:tailEnd type="none" w="med" len="med"/>
                    </a:lnB>
                    <a:solidFill>
                      <a:srgbClr val="7F6000"/>
                    </a:solidFill>
                  </a:tcPr>
                </a:tc>
                <a:extLst>
                  <a:ext uri="{0D108BD9-81ED-4DB2-BD59-A6C34878D82A}">
                    <a16:rowId xmlns:a16="http://schemas.microsoft.com/office/drawing/2014/main" val="10000"/>
                  </a:ext>
                </a:extLst>
              </a:tr>
              <a:tr h="400131">
                <a:tc>
                  <a:txBody>
                    <a:bodyPr/>
                    <a:lstStyle/>
                    <a:p>
                      <a:pPr marL="0" algn="l" defTabSz="914400" rtl="1" eaLnBrk="1" latinLnBrk="0" hangingPunct="1"/>
                      <a:endParaRPr lang="ar-JO" sz="1600" kern="1200" dirty="0">
                        <a:solidFill>
                          <a:srgbClr val="817A6C"/>
                        </a:solidFill>
                        <a:latin typeface="Tajawal" panose="020B0604020202020204" charset="-78"/>
                        <a:ea typeface="+mn-ea"/>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tc>
                  <a:txBody>
                    <a:bodyPr/>
                    <a:lstStyle/>
                    <a:p>
                      <a:pPr algn="l"/>
                      <a:endParaRPr lang="ar-JO" sz="1600" dirty="0">
                        <a:latin typeface="Tajawal" panose="020B0604020202020204" charset="-78"/>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tc>
                  <a:txBody>
                    <a:bodyPr/>
                    <a:lstStyle/>
                    <a:p>
                      <a:pPr marL="0" marR="0" lvl="0" indent="0" algn="l" defTabSz="914400" rtl="1" eaLnBrk="1" fontAlgn="auto" latinLnBrk="0" hangingPunct="1">
                        <a:lnSpc>
                          <a:spcPct val="100000"/>
                        </a:lnSpc>
                        <a:spcBef>
                          <a:spcPts val="0"/>
                        </a:spcBef>
                        <a:spcAft>
                          <a:spcPts val="0"/>
                        </a:spcAft>
                        <a:buClrTx/>
                        <a:buSzTx/>
                        <a:buFontTx/>
                        <a:buNone/>
                        <a:tabLst/>
                        <a:defRPr/>
                      </a:pPr>
                      <a:r>
                        <a:rPr lang="en-US" sz="1600" kern="1200" dirty="0">
                          <a:solidFill>
                            <a:srgbClr val="817A6C"/>
                          </a:solidFill>
                          <a:latin typeface="Tajawal" panose="020B0604020202020204" charset="-78"/>
                          <a:ea typeface="+mn-ea"/>
                          <a:cs typeface="Tajawal" panose="020B0604020202020204" charset="-78"/>
                        </a:rPr>
                        <a:t>Investor, partner, raw material supply, offtaker, tech transfer , etc.. </a:t>
                      </a:r>
                      <a:endParaRPr lang="ar-JO" sz="1600" kern="1200" dirty="0">
                        <a:solidFill>
                          <a:srgbClr val="817A6C"/>
                        </a:solidFill>
                        <a:latin typeface="Tajawal" panose="020B0604020202020204" charset="-78"/>
                        <a:ea typeface="+mn-ea"/>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extLst>
                  <a:ext uri="{0D108BD9-81ED-4DB2-BD59-A6C34878D82A}">
                    <a16:rowId xmlns:a16="http://schemas.microsoft.com/office/drawing/2014/main" val="10001"/>
                  </a:ext>
                </a:extLst>
              </a:tr>
              <a:tr h="4002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ar-JO" sz="1600" kern="1200" dirty="0">
                        <a:solidFill>
                          <a:srgbClr val="817A6C"/>
                        </a:solidFill>
                        <a:latin typeface="Tajawal" panose="020B0604020202020204" charset="-78"/>
                        <a:ea typeface="+mn-ea"/>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ar-JO" sz="1600" dirty="0">
                        <a:latin typeface="Tajawal" panose="020B0604020202020204" charset="-78"/>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tc>
                  <a:txBody>
                    <a:bodyPr/>
                    <a:lstStyle/>
                    <a:p>
                      <a:pPr algn="l" rtl="1"/>
                      <a:endParaRPr lang="en-US" sz="1600" dirty="0">
                        <a:latin typeface="Tajawal" panose="020B0604020202020204" charset="-78"/>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extLst>
                  <a:ext uri="{0D108BD9-81ED-4DB2-BD59-A6C34878D82A}">
                    <a16:rowId xmlns:a16="http://schemas.microsoft.com/office/drawing/2014/main" val="10002"/>
                  </a:ext>
                </a:extLst>
              </a:tr>
              <a:tr h="40022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ar-JO" sz="1600" kern="1200" dirty="0">
                        <a:solidFill>
                          <a:schemeClr val="tx1"/>
                        </a:solidFill>
                        <a:latin typeface="Tajawal" panose="020B0604020202020204" charset="-78"/>
                        <a:ea typeface="+mn-ea"/>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ar-JO" sz="1600" dirty="0">
                        <a:latin typeface="Tajawal" panose="020B0604020202020204" charset="-78"/>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tc>
                  <a:txBody>
                    <a:bodyPr/>
                    <a:lstStyle/>
                    <a:p>
                      <a:pPr algn="r" rtl="1"/>
                      <a:endParaRPr lang="en-US" sz="1600" dirty="0">
                        <a:latin typeface="Tajawal" panose="020B0604020202020204" charset="-78"/>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extLst>
                  <a:ext uri="{0D108BD9-81ED-4DB2-BD59-A6C34878D82A}">
                    <a16:rowId xmlns:a16="http://schemas.microsoft.com/office/drawing/2014/main" val="10003"/>
                  </a:ext>
                </a:extLst>
              </a:tr>
              <a:tr h="40022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ar-JO" sz="1600" kern="1200" dirty="0">
                        <a:solidFill>
                          <a:schemeClr val="tx1"/>
                        </a:solidFill>
                        <a:latin typeface="Tajawal" panose="020B0604020202020204" charset="-78"/>
                        <a:ea typeface="+mn-ea"/>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ar-JO" sz="1600" dirty="0">
                        <a:latin typeface="Tajawal" panose="020B0604020202020204" charset="-78"/>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tc>
                  <a:txBody>
                    <a:bodyPr/>
                    <a:lstStyle/>
                    <a:p>
                      <a:pPr algn="r" rtl="1"/>
                      <a:endParaRPr lang="en-US" sz="1600" dirty="0">
                        <a:latin typeface="Tajawal" panose="020B0604020202020204" charset="-78"/>
                        <a:cs typeface="Tajawal" panose="020B0604020202020204" charset="-7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9F9F9"/>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4152069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EA525A-7826-6C45-A5AE-C8FE5A18FAA9}"/>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id="{C45093C7-E2CC-A2F4-C7C2-AF4C2923D514}"/>
              </a:ext>
            </a:extLst>
          </p:cNvPr>
          <p:cNvGraphicFramePr>
            <a:graphicFrameLocks noChangeAspect="1"/>
          </p:cNvGraphicFramePr>
          <p:nvPr>
            <p:custDataLst>
              <p:tags r:id="rId2"/>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name="think-cell Slide" r:id="rId6" imgW="606" imgH="608" progId="TCLayout.ActiveDocument.1">
                  <p:embed/>
                </p:oleObj>
              </mc:Choice>
              <mc:Fallback>
                <p:oleObj name="think-cell Slide" r:id="rId6" imgW="606" imgH="608" progId="TCLayout.ActiveDocument.1">
                  <p:embed/>
                  <p:pic>
                    <p:nvPicPr>
                      <p:cNvPr id="4" name="Object 3" hidden="1">
                        <a:extLst>
                          <a:ext uri="{FF2B5EF4-FFF2-40B4-BE49-F238E27FC236}">
                            <a16:creationId xmlns:a16="http://schemas.microsoft.com/office/drawing/2014/main" id="{C45093C7-E2CC-A2F4-C7C2-AF4C2923D514}"/>
                          </a:ext>
                        </a:extLst>
                      </p:cNvPr>
                      <p:cNvPicPr/>
                      <p:nvPr/>
                    </p:nvPicPr>
                    <p:blipFill>
                      <a:blip r:embed="rId7"/>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7FCE0B6-3ECA-63A4-F717-C4CC1BD9E0C0}"/>
              </a:ext>
            </a:extLst>
          </p:cNvPr>
          <p:cNvSpPr/>
          <p:nvPr>
            <p:custDataLst>
              <p:tags r:id="rId3"/>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id="{3D1CB96E-F4A2-1428-F93F-85B242865D95}"/>
              </a:ext>
            </a:extLst>
          </p:cNvPr>
          <p:cNvSpPr txBox="1">
            <a:spLocks/>
          </p:cNvSpPr>
          <p:nvPr/>
        </p:nvSpPr>
        <p:spPr>
          <a:xfrm flipH="1">
            <a:off x="287403" y="504054"/>
            <a:ext cx="11617194" cy="449577"/>
          </a:xfrm>
          <a:prstGeom prst="rect">
            <a:avLst/>
          </a:prstGeom>
        </p:spPr>
        <p:txBody>
          <a:bodyPr vert="horz" wrap="square" lIns="0" tIns="0" rIns="0" bIns="0" rtlCol="0" anchor="t">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1" eaLnBrk="1" fontAlgn="auto" latinLnBrk="0" hangingPunct="1">
              <a:lnSpc>
                <a:spcPct val="90000"/>
              </a:lnSpc>
              <a:spcBef>
                <a:spcPct val="0"/>
              </a:spcBef>
              <a:spcAft>
                <a:spcPts val="0"/>
              </a:spcAft>
              <a:buClrTx/>
              <a:buSzTx/>
              <a:buFontTx/>
              <a:buNone/>
              <a:tabLst/>
              <a:defRPr/>
            </a:pPr>
            <a:r>
              <a:rPr lang="en-US" dirty="0">
                <a:solidFill>
                  <a:schemeClr val="accent4">
                    <a:lumMod val="50000"/>
                  </a:schemeClr>
                </a:solidFill>
                <a:latin typeface="Arial" panose="020B0604020202020204" pitchFamily="34" charset="0"/>
                <a:ea typeface="+mj-ea"/>
                <a:cs typeface="+mn-cs"/>
                <a:sym typeface="Sakkal Majalla" panose="02000000000000000000" pitchFamily="2" charset="-78"/>
              </a:rPr>
              <a:t>Agenda</a:t>
            </a:r>
          </a:p>
        </p:txBody>
      </p:sp>
      <p:cxnSp>
        <p:nvCxnSpPr>
          <p:cNvPr id="2" name="Straight Connector 1">
            <a:extLst>
              <a:ext uri="{FF2B5EF4-FFF2-40B4-BE49-F238E27FC236}">
                <a16:creationId xmlns:a16="http://schemas.microsoft.com/office/drawing/2014/main" id="{0B3EC0FF-9755-AD5A-84EF-60FB1D68E0A8}"/>
              </a:ext>
            </a:extLst>
          </p:cNvPr>
          <p:cNvCxnSpPr>
            <a:cxnSpLocks/>
          </p:cNvCxnSpPr>
          <p:nvPr/>
        </p:nvCxnSpPr>
        <p:spPr>
          <a:xfrm>
            <a:off x="301558" y="1084462"/>
            <a:ext cx="6031105"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A white wavy paper on a white background&#10;&#10;Description automatically generated">
            <a:extLst>
              <a:ext uri="{FF2B5EF4-FFF2-40B4-BE49-F238E27FC236}">
                <a16:creationId xmlns:a16="http://schemas.microsoft.com/office/drawing/2014/main" id="{8B46B672-D1D7-0402-4103-F5F63C26BB18}"/>
              </a:ext>
            </a:extLst>
          </p:cNvPr>
          <p:cNvPicPr>
            <a:picLocks noChangeAspect="1"/>
          </p:cNvPicPr>
          <p:nvPr/>
        </p:nvPicPr>
        <p:blipFill rotWithShape="1">
          <a:blip r:embed="rId8" cstate="email">
            <a:alphaModFix amt="37000"/>
            <a:extLst>
              <a:ext uri="{28A0092B-C50C-407E-A947-70E740481C1C}">
                <a14:useLocalDpi xmlns:a14="http://schemas.microsoft.com/office/drawing/2010/main"/>
              </a:ext>
            </a:extLst>
          </a:blip>
          <a:srcRect/>
          <a:stretch/>
        </p:blipFill>
        <p:spPr>
          <a:xfrm>
            <a:off x="486661" y="2675581"/>
            <a:ext cx="11129846" cy="397713"/>
          </a:xfrm>
          <a:prstGeom prst="rect">
            <a:avLst/>
          </a:prstGeom>
          <a:ln>
            <a:solidFill>
              <a:srgbClr val="7F6000"/>
            </a:solidFill>
          </a:ln>
        </p:spPr>
      </p:pic>
      <p:sp>
        <p:nvSpPr>
          <p:cNvPr id="8" name="Rectangle 7">
            <a:extLst>
              <a:ext uri="{FF2B5EF4-FFF2-40B4-BE49-F238E27FC236}">
                <a16:creationId xmlns:a16="http://schemas.microsoft.com/office/drawing/2014/main" id="{8D7B9BCB-9B3A-D4DB-3A80-9A5654FA7832}"/>
              </a:ext>
            </a:extLst>
          </p:cNvPr>
          <p:cNvSpPr/>
          <p:nvPr/>
        </p:nvSpPr>
        <p:spPr>
          <a:xfrm>
            <a:off x="502024" y="1186215"/>
            <a:ext cx="7714749"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Item</a:t>
            </a:r>
            <a:endParaRPr lang="en-US" sz="2400" dirty="0">
              <a:solidFill>
                <a:srgbClr val="866A2C"/>
              </a:solidFill>
              <a:latin typeface="Sakkal Majalla" panose="02000000000000000000" pitchFamily="2" charset="-78"/>
            </a:endParaRPr>
          </a:p>
        </p:txBody>
      </p:sp>
      <p:cxnSp>
        <p:nvCxnSpPr>
          <p:cNvPr id="9" name="Straight Connector 8">
            <a:extLst>
              <a:ext uri="{FF2B5EF4-FFF2-40B4-BE49-F238E27FC236}">
                <a16:creationId xmlns:a16="http://schemas.microsoft.com/office/drawing/2014/main" id="{E076C428-E298-22E1-37DA-FCFD2A9E76CE}"/>
              </a:ext>
            </a:extLst>
          </p:cNvPr>
          <p:cNvCxnSpPr>
            <a:cxnSpLocks/>
          </p:cNvCxnSpPr>
          <p:nvPr/>
        </p:nvCxnSpPr>
        <p:spPr>
          <a:xfrm flipH="1">
            <a:off x="575493" y="1755113"/>
            <a:ext cx="1161650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344AAFF4-78AE-596E-80CB-00739E1A5DCC}"/>
              </a:ext>
            </a:extLst>
          </p:cNvPr>
          <p:cNvSpPr/>
          <p:nvPr/>
        </p:nvSpPr>
        <p:spPr>
          <a:xfrm>
            <a:off x="7342277" y="1186215"/>
            <a:ext cx="1787210"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Time (UAE)</a:t>
            </a:r>
            <a:endParaRPr lang="en-US" sz="2400" dirty="0">
              <a:solidFill>
                <a:srgbClr val="866A2C"/>
              </a:solidFill>
              <a:latin typeface="Sakkal Majalla" panose="02000000000000000000" pitchFamily="2" charset="-78"/>
            </a:endParaRPr>
          </a:p>
        </p:txBody>
      </p:sp>
      <p:sp>
        <p:nvSpPr>
          <p:cNvPr id="12" name="Rectangle 11">
            <a:extLst>
              <a:ext uri="{FF2B5EF4-FFF2-40B4-BE49-F238E27FC236}">
                <a16:creationId xmlns:a16="http://schemas.microsoft.com/office/drawing/2014/main" id="{1D08BDD1-D351-6CA0-E02E-46556B43C5E6}"/>
              </a:ext>
            </a:extLst>
          </p:cNvPr>
          <p:cNvSpPr/>
          <p:nvPr/>
        </p:nvSpPr>
        <p:spPr>
          <a:xfrm>
            <a:off x="9767138" y="1186215"/>
            <a:ext cx="1787210"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Time (Qatar)</a:t>
            </a:r>
            <a:endParaRPr lang="en-US" sz="2400" dirty="0">
              <a:solidFill>
                <a:srgbClr val="866A2C"/>
              </a:solidFill>
              <a:latin typeface="Sakkal Majalla" panose="02000000000000000000" pitchFamily="2" charset="-78"/>
            </a:endParaRPr>
          </a:p>
        </p:txBody>
      </p:sp>
      <p:sp>
        <p:nvSpPr>
          <p:cNvPr id="14" name="Rectangle 13">
            <a:extLst>
              <a:ext uri="{FF2B5EF4-FFF2-40B4-BE49-F238E27FC236}">
                <a16:creationId xmlns:a16="http://schemas.microsoft.com/office/drawing/2014/main" id="{5B6C3877-B928-A23F-BD71-E4E0A5F528E8}"/>
              </a:ext>
            </a:extLst>
          </p:cNvPr>
          <p:cNvSpPr/>
          <p:nvPr/>
        </p:nvSpPr>
        <p:spPr>
          <a:xfrm>
            <a:off x="9376660" y="5880258"/>
            <a:ext cx="1407669" cy="600740"/>
          </a:xfrm>
          <a:prstGeom prst="rect">
            <a:avLst/>
          </a:prstGeom>
        </p:spPr>
        <p:txBody>
          <a:bodyPr vert="horz" wrap="square" lIns="0" tIns="0" rIns="0" bIns="0" rtlCol="0" anchor="t">
            <a:noAutofit/>
          </a:bodyPr>
          <a:lstStyle/>
          <a:p>
            <a:pPr algn="ctr" rtl="1">
              <a:lnSpc>
                <a:spcPct val="90000"/>
              </a:lnSpc>
              <a:spcBef>
                <a:spcPct val="0"/>
              </a:spcBef>
            </a:pPr>
            <a:r>
              <a:rPr lang="en-US" sz="1600" b="1" dirty="0">
                <a:solidFill>
                  <a:srgbClr val="866A2C"/>
                </a:solidFill>
                <a:latin typeface="Arial" panose="020B0604020202020204" pitchFamily="34" charset="0"/>
                <a:ea typeface="+mj-ea"/>
                <a:cs typeface="Arial" panose="020B0604020202020204" pitchFamily="34" charset="0"/>
              </a:rPr>
              <a:t>Attendance Registration and Feedback</a:t>
            </a:r>
            <a:endParaRPr lang="ar-AE" sz="1600" b="1" dirty="0">
              <a:solidFill>
                <a:srgbClr val="866A2C"/>
              </a:solidFill>
              <a:latin typeface="Arial" panose="020B0604020202020204" pitchFamily="34" charset="0"/>
              <a:ea typeface="+mj-ea"/>
              <a:cs typeface="Arial" panose="020B0604020202020204" pitchFamily="34" charset="0"/>
            </a:endParaRPr>
          </a:p>
        </p:txBody>
      </p:sp>
      <p:pic>
        <p:nvPicPr>
          <p:cNvPr id="15" name="Picture 14">
            <a:extLst>
              <a:ext uri="{FF2B5EF4-FFF2-40B4-BE49-F238E27FC236}">
                <a16:creationId xmlns:a16="http://schemas.microsoft.com/office/drawing/2014/main" id="{39AF2FD9-94C8-3EB2-B378-94445A71FB84}"/>
              </a:ext>
            </a:extLst>
          </p:cNvPr>
          <p:cNvPicPr>
            <a:picLocks noChangeAspect="1"/>
          </p:cNvPicPr>
          <p:nvPr/>
        </p:nvPicPr>
        <p:blipFill>
          <a:blip r:embed="rId9"/>
          <a:stretch>
            <a:fillRect/>
          </a:stretch>
        </p:blipFill>
        <p:spPr>
          <a:xfrm>
            <a:off x="9461282" y="4487711"/>
            <a:ext cx="1238423" cy="1257475"/>
          </a:xfrm>
          <a:prstGeom prst="rect">
            <a:avLst/>
          </a:prstGeom>
        </p:spPr>
      </p:pic>
      <p:sp>
        <p:nvSpPr>
          <p:cNvPr id="10" name="Rectangle 9">
            <a:extLst>
              <a:ext uri="{FF2B5EF4-FFF2-40B4-BE49-F238E27FC236}">
                <a16:creationId xmlns:a16="http://schemas.microsoft.com/office/drawing/2014/main" id="{BB541EA7-329E-90F3-02F1-6B40863C6752}"/>
              </a:ext>
            </a:extLst>
          </p:cNvPr>
          <p:cNvSpPr/>
          <p:nvPr/>
        </p:nvSpPr>
        <p:spPr>
          <a:xfrm>
            <a:off x="575493" y="1791937"/>
            <a:ext cx="6766783" cy="4611519"/>
          </a:xfrm>
          <a:prstGeom prst="rect">
            <a:avLst/>
          </a:prstGeom>
        </p:spPr>
        <p:txBody>
          <a:bodyPr wrap="square">
            <a:spAutoFit/>
          </a:bodyPr>
          <a:lstStyle/>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Welcome, Objectives and Agenda</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the industrial partnership</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Qatar Industrial Landscape</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Türkiye Industrial Landscape</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Companies Introduction and preliminary discussion</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Pharmaceuticals </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Agriculture, Food and Fertilizers </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Chemicals, Plastics And Downstream Products</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Metals, Minerals And Downstream Products</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Textiles</a:t>
            </a:r>
          </a:p>
          <a:p>
            <a:pPr marL="457200" indent="-457200" algn="l">
              <a:lnSpc>
                <a:spcPct val="150000"/>
              </a:lnSpc>
              <a:buFont typeface="+mj-lt"/>
              <a:buAutoNum type="arabicPeriod"/>
            </a:pPr>
            <a:endParaRPr lang="en-US" b="1" dirty="0">
              <a:solidFill>
                <a:srgbClr val="817A6C"/>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94C19A45-C2D9-74B8-EB92-8D8E4199A02C}"/>
              </a:ext>
            </a:extLst>
          </p:cNvPr>
          <p:cNvSpPr/>
          <p:nvPr/>
        </p:nvSpPr>
        <p:spPr>
          <a:xfrm>
            <a:off x="9811974" y="1755113"/>
            <a:ext cx="2034385" cy="2534027"/>
          </a:xfrm>
          <a:prstGeom prst="rect">
            <a:avLst/>
          </a:prstGeom>
        </p:spPr>
        <p:txBody>
          <a:bodyPr wrap="square">
            <a:spAutoFit/>
          </a:bodyPr>
          <a:lstStyle/>
          <a:p>
            <a:pPr>
              <a:lnSpc>
                <a:spcPct val="150000"/>
              </a:lnSpc>
            </a:pPr>
            <a:r>
              <a:rPr lang="en-US" b="1" dirty="0">
                <a:solidFill>
                  <a:srgbClr val="817A6C"/>
                </a:solidFill>
                <a:latin typeface="Arial" panose="020B0604020202020204" pitchFamily="34" charset="0"/>
                <a:cs typeface="Arial" panose="020B0604020202020204" pitchFamily="34" charset="0"/>
              </a:rPr>
              <a:t>12:00 – 12:05</a:t>
            </a:r>
          </a:p>
          <a:p>
            <a:pPr>
              <a:lnSpc>
                <a:spcPct val="150000"/>
              </a:lnSpc>
            </a:pPr>
            <a:r>
              <a:rPr lang="en-US" b="1" dirty="0">
                <a:solidFill>
                  <a:srgbClr val="817A6C"/>
                </a:solidFill>
                <a:latin typeface="Arial" panose="020B0604020202020204" pitchFamily="34" charset="0"/>
                <a:cs typeface="Arial" panose="020B0604020202020204" pitchFamily="34" charset="0"/>
              </a:rPr>
              <a:t>12:05 – 12:15</a:t>
            </a:r>
          </a:p>
          <a:p>
            <a:pPr>
              <a:lnSpc>
                <a:spcPct val="150000"/>
              </a:lnSpc>
            </a:pPr>
            <a:r>
              <a:rPr lang="en-US" b="1" dirty="0">
                <a:solidFill>
                  <a:srgbClr val="817A6C"/>
                </a:solidFill>
                <a:latin typeface="Arial" panose="020B0604020202020204" pitchFamily="34" charset="0"/>
                <a:cs typeface="Arial" panose="020B0604020202020204" pitchFamily="34" charset="0"/>
              </a:rPr>
              <a:t>12:15 – 12:25</a:t>
            </a:r>
          </a:p>
          <a:p>
            <a:pPr>
              <a:lnSpc>
                <a:spcPct val="150000"/>
              </a:lnSpc>
            </a:pPr>
            <a:r>
              <a:rPr lang="en-US" b="1" dirty="0">
                <a:solidFill>
                  <a:srgbClr val="817A6C"/>
                </a:solidFill>
                <a:latin typeface="Arial" panose="020B0604020202020204" pitchFamily="34" charset="0"/>
                <a:cs typeface="Arial" panose="020B0604020202020204" pitchFamily="34" charset="0"/>
              </a:rPr>
              <a:t>12:25 – 12:35</a:t>
            </a:r>
          </a:p>
          <a:p>
            <a:pPr>
              <a:lnSpc>
                <a:spcPct val="150000"/>
              </a:lnSpc>
            </a:pPr>
            <a:r>
              <a:rPr lang="en-US" b="1" dirty="0">
                <a:solidFill>
                  <a:srgbClr val="817A6C"/>
                </a:solidFill>
                <a:latin typeface="Arial" panose="020B0604020202020204" pitchFamily="34" charset="0"/>
                <a:cs typeface="Arial" panose="020B0604020202020204" pitchFamily="34" charset="0"/>
              </a:rPr>
              <a:t>12:35 – 14:00</a:t>
            </a:r>
          </a:p>
          <a:p>
            <a:pPr>
              <a:lnSpc>
                <a:spcPct val="150000"/>
              </a:lnSpc>
            </a:pPr>
            <a:endParaRPr lang="ar-AE" b="1" dirty="0">
              <a:solidFill>
                <a:srgbClr val="817A6C"/>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4F27A067-C3BE-E6DB-CC0F-F46D8BC5AF4B}"/>
              </a:ext>
            </a:extLst>
          </p:cNvPr>
          <p:cNvSpPr/>
          <p:nvPr/>
        </p:nvSpPr>
        <p:spPr>
          <a:xfrm>
            <a:off x="7273049" y="1755113"/>
            <a:ext cx="2034385" cy="2534027"/>
          </a:xfrm>
          <a:prstGeom prst="rect">
            <a:avLst/>
          </a:prstGeom>
        </p:spPr>
        <p:txBody>
          <a:bodyPr wrap="square">
            <a:spAutoFit/>
          </a:bodyPr>
          <a:lstStyle/>
          <a:p>
            <a:pPr>
              <a:lnSpc>
                <a:spcPct val="150000"/>
              </a:lnSpc>
            </a:pPr>
            <a:r>
              <a:rPr lang="en-US" b="1" dirty="0">
                <a:solidFill>
                  <a:srgbClr val="817A6C"/>
                </a:solidFill>
                <a:latin typeface="Arial" panose="020B0604020202020204" pitchFamily="34" charset="0"/>
                <a:cs typeface="Arial" panose="020B0604020202020204" pitchFamily="34" charset="0"/>
              </a:rPr>
              <a:t>13:00 – 13:05</a:t>
            </a:r>
          </a:p>
          <a:p>
            <a:pPr>
              <a:lnSpc>
                <a:spcPct val="150000"/>
              </a:lnSpc>
            </a:pPr>
            <a:r>
              <a:rPr lang="en-US" b="1" dirty="0">
                <a:solidFill>
                  <a:srgbClr val="817A6C"/>
                </a:solidFill>
                <a:latin typeface="Arial" panose="020B0604020202020204" pitchFamily="34" charset="0"/>
                <a:cs typeface="Arial" panose="020B0604020202020204" pitchFamily="34" charset="0"/>
              </a:rPr>
              <a:t>13:05 – 13:15</a:t>
            </a:r>
          </a:p>
          <a:p>
            <a:pPr>
              <a:lnSpc>
                <a:spcPct val="150000"/>
              </a:lnSpc>
            </a:pPr>
            <a:r>
              <a:rPr lang="en-US" b="1" dirty="0">
                <a:solidFill>
                  <a:srgbClr val="817A6C"/>
                </a:solidFill>
                <a:latin typeface="Arial" panose="020B0604020202020204" pitchFamily="34" charset="0"/>
                <a:cs typeface="Arial" panose="020B0604020202020204" pitchFamily="34" charset="0"/>
              </a:rPr>
              <a:t>13:15 – 13:25</a:t>
            </a:r>
          </a:p>
          <a:p>
            <a:pPr>
              <a:lnSpc>
                <a:spcPct val="150000"/>
              </a:lnSpc>
            </a:pPr>
            <a:r>
              <a:rPr lang="en-US" b="1" dirty="0">
                <a:solidFill>
                  <a:srgbClr val="817A6C"/>
                </a:solidFill>
                <a:latin typeface="Arial" panose="020B0604020202020204" pitchFamily="34" charset="0"/>
                <a:cs typeface="Arial" panose="020B0604020202020204" pitchFamily="34" charset="0"/>
              </a:rPr>
              <a:t>14:25 – 14:35</a:t>
            </a:r>
          </a:p>
          <a:p>
            <a:pPr>
              <a:lnSpc>
                <a:spcPct val="150000"/>
              </a:lnSpc>
            </a:pPr>
            <a:r>
              <a:rPr lang="en-US" b="1" dirty="0">
                <a:solidFill>
                  <a:srgbClr val="817A6C"/>
                </a:solidFill>
                <a:latin typeface="Arial" panose="020B0604020202020204" pitchFamily="34" charset="0"/>
                <a:cs typeface="Arial" panose="020B0604020202020204" pitchFamily="34" charset="0"/>
              </a:rPr>
              <a:t>14:35 – 15:00</a:t>
            </a:r>
          </a:p>
          <a:p>
            <a:pPr>
              <a:lnSpc>
                <a:spcPct val="150000"/>
              </a:lnSpc>
            </a:pPr>
            <a:endParaRPr lang="ar-AE" b="1" dirty="0">
              <a:solidFill>
                <a:srgbClr val="817A6C"/>
              </a:solidFill>
              <a:latin typeface="Arial" panose="020B0604020202020204" pitchFamily="34" charset="0"/>
              <a:cs typeface="Arial" panose="020B0604020202020204" pitchFamily="34" charset="0"/>
            </a:endParaRPr>
          </a:p>
        </p:txBody>
      </p:sp>
    </p:spTree>
    <p:custDataLst>
      <p:custData r:id="rId1"/>
    </p:custDataLst>
    <p:extLst>
      <p:ext uri="{BB962C8B-B14F-4D97-AF65-F5344CB8AC3E}">
        <p14:creationId xmlns:p14="http://schemas.microsoft.com/office/powerpoint/2010/main" val="3914390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EFAF97-3E6B-5E09-F546-3D7BAECE8B10}"/>
            </a:ext>
          </a:extLst>
        </p:cNvPr>
        <p:cNvGrpSpPr/>
        <p:nvPr/>
      </p:nvGrpSpPr>
      <p:grpSpPr>
        <a:xfrm>
          <a:off x="12192000" y="0"/>
          <a:ext cx="0" cy="0"/>
          <a:chOff x="12192000" y="0"/>
          <a:chExt cx="0" cy="0"/>
        </a:xfrm>
      </p:grpSpPr>
      <p:graphicFrame>
        <p:nvGraphicFramePr>
          <p:cNvPr id="5" name="Object 4" hidden="1">
            <a:extLst>
              <a:ext uri="{FF2B5EF4-FFF2-40B4-BE49-F238E27FC236}">
                <a16:creationId xmlns:a16="http://schemas.microsoft.com/office/drawing/2014/main" id="{7B56FE1E-358E-1615-83E8-6D58D83A7356}"/>
              </a:ext>
            </a:extLst>
          </p:cNvPr>
          <p:cNvGraphicFramePr>
            <a:graphicFrameLocks noChangeAspect="1"/>
          </p:cNvGraphicFramePr>
          <p:nvPr>
            <p:custDataLst>
              <p:tags r:id="rId1"/>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5" name="Object 4" hidden="1">
                        <a:extLst>
                          <a:ext uri="{FF2B5EF4-FFF2-40B4-BE49-F238E27FC236}">
                            <a16:creationId xmlns:a16="http://schemas.microsoft.com/office/drawing/2014/main" id="{7B56FE1E-358E-1615-83E8-6D58D83A7356}"/>
                          </a:ext>
                        </a:extLst>
                      </p:cNvPr>
                      <p:cNvPicPr/>
                      <p:nvPr/>
                    </p:nvPicPr>
                    <p:blipFill>
                      <a:blip r:embed="rId5"/>
                      <a:stretch>
                        <a:fillRect/>
                      </a:stretch>
                    </p:blipFill>
                    <p:spPr>
                      <a:xfrm>
                        <a:off x="12188824" y="1588"/>
                        <a:ext cx="1588" cy="1588"/>
                      </a:xfrm>
                      <a:prstGeom prst="rect">
                        <a:avLst/>
                      </a:prstGeom>
                    </p:spPr>
                  </p:pic>
                </p:oleObj>
              </mc:Fallback>
            </mc:AlternateContent>
          </a:graphicData>
        </a:graphic>
      </p:graphicFrame>
      <p:sp>
        <p:nvSpPr>
          <p:cNvPr id="4" name="ADVANCED SCIENCES…">
            <a:extLst>
              <a:ext uri="{FF2B5EF4-FFF2-40B4-BE49-F238E27FC236}">
                <a16:creationId xmlns:a16="http://schemas.microsoft.com/office/drawing/2014/main" id="{10E0248B-E9F5-87CB-C16B-6E528FFC0487}"/>
              </a:ext>
            </a:extLst>
          </p:cNvPr>
          <p:cNvSpPr/>
          <p:nvPr/>
        </p:nvSpPr>
        <p:spPr>
          <a:xfrm flipH="1">
            <a:off x="1723946" y="2639689"/>
            <a:ext cx="8228175" cy="677104"/>
          </a:xfrm>
          <a:prstGeom prst="rect">
            <a:avLst/>
          </a:prstGeom>
          <a:ln w="12700">
            <a:miter lim="400000"/>
          </a:ln>
          <a:extLst>
            <a:ext uri="{C572A759-6A51-4108-AA02-DFA0A04FC94B}">
              <ma14:wrappingTextBoxFlag xmlns="" xmlns:ma14="http://schemas.microsoft.com/office/mac/drawingml/2011/main" val="1"/>
            </a:ext>
          </a:extLst>
        </p:spPr>
        <p:txBody>
          <a:bodyPr wrap="square" lIns="91438" tIns="91438" rIns="91438" bIns="91438" anchor="t">
            <a:spAutoFit/>
          </a:bodyPr>
          <a:lstStyle/>
          <a:p>
            <a:pPr marL="0" marR="0" lvl="0" indent="0" algn="ctr" defTabSz="914400" rtl="1" eaLnBrk="1" fontAlgn="auto" latinLnBrk="0" hangingPunct="1">
              <a:lnSpc>
                <a:spcPct val="100000"/>
              </a:lnSpc>
              <a:spcBef>
                <a:spcPct val="0"/>
              </a:spcBef>
              <a:spcAft>
                <a:spcPts val="0"/>
              </a:spcAft>
              <a:buClrTx/>
              <a:buSzTx/>
              <a:buFontTx/>
              <a:buNone/>
              <a:tabLst/>
              <a:defRPr/>
            </a:pPr>
            <a:endParaRPr kumimoji="0" lang="en-US" sz="3200" b="1" i="0" u="none" strike="noStrike" kern="1200" cap="none" spc="0" normalizeH="0" baseline="0" noProof="0" dirty="0">
              <a:ln w="6350" cap="flat">
                <a:noFill/>
                <a:miter lim="800000"/>
              </a:ln>
              <a:solidFill>
                <a:srgbClr val="817A6C"/>
              </a:solidFill>
              <a:effectLst/>
              <a:uLnTx/>
              <a:uFillTx/>
              <a:latin typeface="Janna LT" panose="01000000000000000000" pitchFamily="2" charset="-78"/>
              <a:ea typeface="+mn-ea"/>
              <a:cs typeface="Janna LT" panose="01000000000000000000" pitchFamily="2" charset="-78"/>
              <a:sym typeface="Sakkal Majalla" panose="02000000000000000000" pitchFamily="2" charset="-78"/>
            </a:endParaRPr>
          </a:p>
        </p:txBody>
      </p:sp>
      <p:pic>
        <p:nvPicPr>
          <p:cNvPr id="6" name="Picture 5">
            <a:extLst>
              <a:ext uri="{FF2B5EF4-FFF2-40B4-BE49-F238E27FC236}">
                <a16:creationId xmlns:a16="http://schemas.microsoft.com/office/drawing/2014/main" id="{CF4FB986-1954-3D07-C191-70429A670BEB}"/>
              </a:ext>
            </a:extLst>
          </p:cNvPr>
          <p:cNvPicPr>
            <a:picLocks noChangeAspect="1"/>
          </p:cNvPicPr>
          <p:nvPr/>
        </p:nvPicPr>
        <p:blipFill>
          <a:blip r:embed="rId6" cstate="email">
            <a:alphaModFix amt="20000"/>
            <a:extLst>
              <a:ext uri="{BEBA8EAE-BF5A-486C-A8C5-ECC9F3942E4B}">
                <a14:imgProps xmlns:a14="http://schemas.microsoft.com/office/drawing/2010/main">
                  <a14:imgLayer r:embed="rId7">
                    <a14:imgEffect>
                      <a14:backgroundRemoval t="4004" b="89844" l="9961" r="92285">
                        <a14:foregroundMark x1="15527" y1="5762" x2="15430" y2="33496"/>
                        <a14:foregroundMark x1="14844" y1="4004" x2="18262" y2="5664"/>
                        <a14:foregroundMark x1="14355" y1="37598" x2="14746" y2="20898"/>
                        <a14:foregroundMark x1="14746" y1="20898" x2="13965" y2="18848"/>
                        <a14:foregroundMark x1="18359" y1="6152" x2="15918" y2="11523"/>
                        <a14:foregroundMark x1="12305" y1="12305" x2="15332" y2="12402"/>
                        <a14:foregroundMark x1="16895" y1="19336" x2="16797" y2="33496"/>
                        <a14:foregroundMark x1="31250" y1="76074" x2="22171" y2="76262"/>
                        <a14:foregroundMark x1="42090" y1="76563" x2="38477" y2="76563"/>
                        <a14:foregroundMark x1="91211" y1="53223" x2="90918" y2="59473"/>
                        <a14:foregroundMark x1="91992" y1="61426" x2="91406" y2="63770"/>
                        <a14:foregroundMark x1="92188" y1="78027" x2="92285" y2="74414"/>
                        <a14:foregroundMark x1="20410" y1="16895" x2="20117" y2="16113"/>
                        <a14:foregroundMark x1="19141" y1="12695" x2="17285" y2="15527"/>
                        <a14:foregroundMark x1="12500" y1="14844" x2="11621" y2="13965"/>
                        <a14:foregroundMark x1="17285" y1="16992" x2="17188" y2="18262"/>
                        <a14:foregroundMark x1="22852" y1="55664" x2="22949" y2="52539"/>
                        <a14:foregroundMark x1="22852" y1="49707" x2="22754" y2="52051"/>
                        <a14:foregroundMark x1="31152" y1="76465" x2="22138" y2="76465"/>
                        <a14:foregroundMark x1="30664" y1="77051" x2="21804" y2="76847"/>
                        <a14:foregroundMark x1="22852" y1="58008" x2="22949" y2="53711"/>
                        <a14:foregroundMark x1="22949" y1="57031" x2="23047" y2="53516"/>
                        <a14:backgroundMark x1="18848" y1="22656" x2="18848" y2="18066"/>
                        <a14:backgroundMark x1="20898" y1="71094" x2="20020" y2="76563"/>
                      </a14:backgroundRemoval>
                    </a14:imgEffect>
                  </a14:imgLayer>
                </a14:imgProps>
              </a:ext>
              <a:ext uri="{28A0092B-C50C-407E-A947-70E740481C1C}">
                <a14:useLocalDpi xmlns:a14="http://schemas.microsoft.com/office/drawing/2010/main"/>
              </a:ext>
            </a:extLst>
          </a:blip>
          <a:stretch>
            <a:fillRect/>
          </a:stretch>
        </p:blipFill>
        <p:spPr>
          <a:xfrm flipH="1">
            <a:off x="5745246" y="512968"/>
            <a:ext cx="6858000" cy="6858000"/>
          </a:xfrm>
          <a:prstGeom prst="rect">
            <a:avLst/>
          </a:prstGeom>
        </p:spPr>
      </p:pic>
      <p:sp>
        <p:nvSpPr>
          <p:cNvPr id="2" name="ADVANCED SCIENCES…">
            <a:extLst>
              <a:ext uri="{FF2B5EF4-FFF2-40B4-BE49-F238E27FC236}">
                <a16:creationId xmlns:a16="http://schemas.microsoft.com/office/drawing/2014/main" id="{CB690557-55BD-21BC-3882-D0BA295C11B2}"/>
              </a:ext>
            </a:extLst>
          </p:cNvPr>
          <p:cNvSpPr/>
          <p:nvPr/>
        </p:nvSpPr>
        <p:spPr>
          <a:xfrm flipH="1">
            <a:off x="354600" y="2741641"/>
            <a:ext cx="10328939" cy="2400653"/>
          </a:xfrm>
          <a:prstGeom prst="rect">
            <a:avLst/>
          </a:prstGeom>
          <a:ln w="12700">
            <a:miter lim="400000"/>
          </a:ln>
          <a:extLst>
            <a:ext uri="{C572A759-6A51-4108-AA02-DFA0A04FC94B}">
              <ma14:wrappingTextBoxFlag xmlns="" xmlns:ma14="http://schemas.microsoft.com/office/mac/drawingml/2011/main" val="1"/>
            </a:ext>
          </a:extLst>
        </p:spPr>
        <p:txBody>
          <a:bodyPr wrap="square" lIns="91438" tIns="91438" rIns="91438" bIns="91438"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F6000"/>
                </a:solidFill>
                <a:effectLst/>
                <a:uLnTx/>
                <a:uFillTx/>
                <a:latin typeface="Arial" panose="020B0604020202020204" pitchFamily="34" charset="0"/>
                <a:cs typeface="Arial" panose="020B0604020202020204" pitchFamily="34" charset="0"/>
                <a:sym typeface="Sakkal Majalla" panose="02000000000000000000" pitchFamily="2" charset="-78"/>
              </a:rPr>
              <a:t>Overview of the Industrial Sector, Incentives and Investment Opportunities in Qata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dirty="0">
              <a:ln>
                <a:noFill/>
              </a:ln>
              <a:solidFill>
                <a:srgbClr val="7F6000"/>
              </a:solidFill>
              <a:effectLst/>
              <a:uLnTx/>
              <a:uFillTx/>
              <a:latin typeface="Arial" panose="020B0604020202020204" pitchFamily="34" charset="0"/>
              <a:cs typeface="Arial" panose="020B0604020202020204" pitchFamily="34" charset="0"/>
              <a:sym typeface="Sakkal Majalla" panose="02000000000000000000" pitchFamily="2" charset="-7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dirty="0">
              <a:ln>
                <a:noFill/>
              </a:ln>
              <a:solidFill>
                <a:srgbClr val="7F6000"/>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Tree>
    <p:extLst>
      <p:ext uri="{BB962C8B-B14F-4D97-AF65-F5344CB8AC3E}">
        <p14:creationId xmlns:p14="http://schemas.microsoft.com/office/powerpoint/2010/main" val="1842288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7" descr="A picture containing nature, sunset&#10;&#10;Description automatically generated">
            <a:extLst>
              <a:ext uri="{FF2B5EF4-FFF2-40B4-BE49-F238E27FC236}">
                <a16:creationId xmlns:a16="http://schemas.microsoft.com/office/drawing/2014/main" id="{A80497FA-B621-D7C4-054D-0FCB1D292ECD}"/>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7111999" y="-1625"/>
            <a:ext cx="5080001" cy="6858000"/>
          </a:xfrm>
          <a:prstGeom prst="rect">
            <a:avLst/>
          </a:prstGeom>
        </p:spPr>
      </p:pic>
      <p:sp>
        <p:nvSpPr>
          <p:cNvPr id="6" name="TextBox 5">
            <a:extLst>
              <a:ext uri="{FF2B5EF4-FFF2-40B4-BE49-F238E27FC236}">
                <a16:creationId xmlns:a16="http://schemas.microsoft.com/office/drawing/2014/main" id="{EAABA945-BDE1-DDC1-32E2-C36CF5AC4193}"/>
              </a:ext>
            </a:extLst>
          </p:cNvPr>
          <p:cNvSpPr txBox="1"/>
          <p:nvPr/>
        </p:nvSpPr>
        <p:spPr>
          <a:xfrm flipH="1">
            <a:off x="355820" y="2352977"/>
            <a:ext cx="493595" cy="738664"/>
          </a:xfrm>
          <a:prstGeom prst="rect">
            <a:avLst/>
          </a:prstGeom>
          <a:noFill/>
        </p:spPr>
        <p:txBody>
          <a:bodyPr wrap="square" lIns="0" tIns="0" rIns="0" bIns="0" rtlCol="0">
            <a:spAutoFit/>
          </a:bodyPr>
          <a:lstStyle/>
          <a:p>
            <a:pPr defTabSz="354741">
              <a:spcBef>
                <a:spcPts val="600"/>
              </a:spcBef>
              <a:buSzPct val="100000"/>
              <a:defRPr/>
            </a:pPr>
            <a:r>
              <a:rPr lang="en-US" sz="4800" b="1" dirty="0">
                <a:solidFill>
                  <a:srgbClr val="7F6000"/>
                </a:solidFill>
                <a:cs typeface="Janna LT" panose="01000000000000000000" pitchFamily="2" charset="-78"/>
              </a:rPr>
              <a:t>1</a:t>
            </a:r>
          </a:p>
        </p:txBody>
      </p:sp>
      <p:sp>
        <p:nvSpPr>
          <p:cNvPr id="8" name="TextBox 7">
            <a:extLst>
              <a:ext uri="{FF2B5EF4-FFF2-40B4-BE49-F238E27FC236}">
                <a16:creationId xmlns:a16="http://schemas.microsoft.com/office/drawing/2014/main" id="{A2E40633-6DB0-C2F2-6C3C-9554CC9B1A3C}"/>
              </a:ext>
            </a:extLst>
          </p:cNvPr>
          <p:cNvSpPr txBox="1"/>
          <p:nvPr/>
        </p:nvSpPr>
        <p:spPr>
          <a:xfrm flipH="1">
            <a:off x="355820" y="3035036"/>
            <a:ext cx="493595" cy="738664"/>
          </a:xfrm>
          <a:prstGeom prst="rect">
            <a:avLst/>
          </a:prstGeom>
          <a:noFill/>
        </p:spPr>
        <p:txBody>
          <a:bodyPr wrap="square" lIns="0" tIns="0" rIns="0" bIns="0" rtlCol="0">
            <a:spAutoFit/>
          </a:bodyPr>
          <a:lstStyle>
            <a:defPPr>
              <a:defRPr lang="en-US"/>
            </a:defPPr>
            <a:lvl1pPr defTabSz="354741">
              <a:spcBef>
                <a:spcPts val="600"/>
              </a:spcBef>
              <a:buSzPct val="100000"/>
              <a:defRPr sz="4800" b="1">
                <a:solidFill>
                  <a:srgbClr val="7F6000"/>
                </a:solidFill>
                <a:cs typeface="Janna LT" panose="01000000000000000000" pitchFamily="2" charset="-78"/>
              </a:defRPr>
            </a:lvl1pPr>
          </a:lstStyle>
          <a:p>
            <a:r>
              <a:rPr lang="en-US" dirty="0"/>
              <a:t>2</a:t>
            </a:r>
          </a:p>
        </p:txBody>
      </p:sp>
      <p:sp>
        <p:nvSpPr>
          <p:cNvPr id="10" name="TextBox 9">
            <a:extLst>
              <a:ext uri="{FF2B5EF4-FFF2-40B4-BE49-F238E27FC236}">
                <a16:creationId xmlns:a16="http://schemas.microsoft.com/office/drawing/2014/main" id="{8E4DE7E6-83B4-B86A-6DCD-F113432984F4}"/>
              </a:ext>
            </a:extLst>
          </p:cNvPr>
          <p:cNvSpPr txBox="1"/>
          <p:nvPr/>
        </p:nvSpPr>
        <p:spPr>
          <a:xfrm flipH="1">
            <a:off x="355820" y="3723917"/>
            <a:ext cx="493595" cy="738664"/>
          </a:xfrm>
          <a:prstGeom prst="rect">
            <a:avLst/>
          </a:prstGeom>
          <a:noFill/>
        </p:spPr>
        <p:txBody>
          <a:bodyPr wrap="square" lIns="0" tIns="0" rIns="0" bIns="0" rtlCol="0">
            <a:spAutoFit/>
          </a:bodyPr>
          <a:lstStyle>
            <a:defPPr>
              <a:defRPr lang="en-US"/>
            </a:defPPr>
            <a:lvl1pPr defTabSz="354741">
              <a:spcBef>
                <a:spcPts val="600"/>
              </a:spcBef>
              <a:buSzPct val="100000"/>
              <a:defRPr sz="4800" b="1">
                <a:solidFill>
                  <a:srgbClr val="7F6000"/>
                </a:solidFill>
                <a:cs typeface="Janna LT" panose="01000000000000000000" pitchFamily="2" charset="-78"/>
              </a:defRPr>
            </a:lvl1pPr>
          </a:lstStyle>
          <a:p>
            <a:r>
              <a:rPr lang="en-US" dirty="0"/>
              <a:t>3</a:t>
            </a:r>
          </a:p>
        </p:txBody>
      </p:sp>
      <p:cxnSp>
        <p:nvCxnSpPr>
          <p:cNvPr id="12" name="Straight Connector 11">
            <a:extLst>
              <a:ext uri="{FF2B5EF4-FFF2-40B4-BE49-F238E27FC236}">
                <a16:creationId xmlns:a16="http://schemas.microsoft.com/office/drawing/2014/main" id="{55981663-FFC7-8930-8C72-F24700164D3E}"/>
              </a:ext>
            </a:extLst>
          </p:cNvPr>
          <p:cNvCxnSpPr/>
          <p:nvPr/>
        </p:nvCxnSpPr>
        <p:spPr>
          <a:xfrm flipH="1" flipV="1">
            <a:off x="778704" y="3093439"/>
            <a:ext cx="5943600" cy="0"/>
          </a:xfrm>
          <a:prstGeom prst="line">
            <a:avLst/>
          </a:prstGeom>
          <a:noFill/>
          <a:ln w="9525" cap="rnd" cmpd="sng" algn="ctr">
            <a:solidFill>
              <a:srgbClr val="7F6000"/>
            </a:solidFill>
            <a:prstDash val="solid"/>
            <a:round/>
          </a:ln>
          <a:effectLst/>
        </p:spPr>
      </p:cxnSp>
      <p:cxnSp>
        <p:nvCxnSpPr>
          <p:cNvPr id="13" name="Straight Connector 12">
            <a:extLst>
              <a:ext uri="{FF2B5EF4-FFF2-40B4-BE49-F238E27FC236}">
                <a16:creationId xmlns:a16="http://schemas.microsoft.com/office/drawing/2014/main" id="{A0A367EE-7AA5-38CF-507C-832744908336}"/>
              </a:ext>
            </a:extLst>
          </p:cNvPr>
          <p:cNvCxnSpPr/>
          <p:nvPr/>
        </p:nvCxnSpPr>
        <p:spPr>
          <a:xfrm flipH="1" flipV="1">
            <a:off x="778704" y="3782321"/>
            <a:ext cx="5943600" cy="0"/>
          </a:xfrm>
          <a:prstGeom prst="line">
            <a:avLst/>
          </a:prstGeom>
          <a:noFill/>
          <a:ln w="9525" cap="rnd" cmpd="sng" algn="ctr">
            <a:solidFill>
              <a:srgbClr val="7F6000"/>
            </a:solidFill>
            <a:prstDash val="solid"/>
            <a:round/>
          </a:ln>
          <a:effectLst/>
        </p:spPr>
      </p:cxnSp>
      <p:sp>
        <p:nvSpPr>
          <p:cNvPr id="15" name="Rectangle 14">
            <a:extLst>
              <a:ext uri="{FF2B5EF4-FFF2-40B4-BE49-F238E27FC236}">
                <a16:creationId xmlns:a16="http://schemas.microsoft.com/office/drawing/2014/main" id="{2C480815-B976-DC58-4621-53A92054C708}"/>
              </a:ext>
            </a:extLst>
          </p:cNvPr>
          <p:cNvSpPr/>
          <p:nvPr/>
        </p:nvSpPr>
        <p:spPr bwMode="gray">
          <a:xfrm>
            <a:off x="686358" y="2519365"/>
            <a:ext cx="5351587" cy="459711"/>
          </a:xfrm>
          <a:prstGeom prst="rect">
            <a:avLst/>
          </a:prstGeom>
          <a:noFill/>
          <a:ln w="19050" algn="ctr">
            <a:noFill/>
            <a:miter lim="800000"/>
            <a:headEnd/>
            <a:tailEnd/>
          </a:ln>
        </p:spPr>
        <p:txBody>
          <a:bodyPr wrap="square" lIns="88900" tIns="88900" rIns="88900" bIns="88900" rtlCol="0" anchor="ctr"/>
          <a:lstStyle/>
          <a:p>
            <a:pPr defTabSz="354741">
              <a:lnSpc>
                <a:spcPct val="106000"/>
              </a:lnSpc>
              <a:defRPr/>
            </a:pPr>
            <a:r>
              <a:rPr lang="en-US" sz="1600" b="1" kern="0" dirty="0">
                <a:solidFill>
                  <a:srgbClr val="817A6C"/>
                </a:solidFill>
                <a:latin typeface="Arial" panose="020B0604020202020204" pitchFamily="34" charset="0"/>
                <a:cs typeface="Arial" panose="020B0604020202020204" pitchFamily="34" charset="0"/>
              </a:rPr>
              <a:t>The Competitive Advantages of the State of Qatar</a:t>
            </a:r>
          </a:p>
        </p:txBody>
      </p:sp>
      <p:sp>
        <p:nvSpPr>
          <p:cNvPr id="16" name="TextBox 15">
            <a:extLst>
              <a:ext uri="{FF2B5EF4-FFF2-40B4-BE49-F238E27FC236}">
                <a16:creationId xmlns:a16="http://schemas.microsoft.com/office/drawing/2014/main" id="{8E0131AB-EC16-2970-3BCA-064BF4089803}"/>
              </a:ext>
            </a:extLst>
          </p:cNvPr>
          <p:cNvSpPr txBox="1"/>
          <p:nvPr/>
        </p:nvSpPr>
        <p:spPr>
          <a:xfrm>
            <a:off x="686358" y="3288430"/>
            <a:ext cx="6101254" cy="338554"/>
          </a:xfrm>
          <a:prstGeom prst="rect">
            <a:avLst/>
          </a:prstGeom>
          <a:noFill/>
        </p:spPr>
        <p:txBody>
          <a:bodyPr wrap="square" anchor="ctr">
            <a:spAutoFit/>
          </a:bodyPr>
          <a:lstStyle/>
          <a:p>
            <a:r>
              <a:rPr lang="en-US" sz="1600" b="1" dirty="0">
                <a:solidFill>
                  <a:srgbClr val="817A6C"/>
                </a:solidFill>
                <a:latin typeface="Arial" panose="020B0604020202020204" pitchFamily="34" charset="0"/>
                <a:cs typeface="Arial" panose="020B0604020202020204" pitchFamily="34" charset="0"/>
              </a:rPr>
              <a:t>The Key Imports of the State of Qatar</a:t>
            </a:r>
          </a:p>
        </p:txBody>
      </p:sp>
      <p:sp>
        <p:nvSpPr>
          <p:cNvPr id="17" name="TextBox 16">
            <a:extLst>
              <a:ext uri="{FF2B5EF4-FFF2-40B4-BE49-F238E27FC236}">
                <a16:creationId xmlns:a16="http://schemas.microsoft.com/office/drawing/2014/main" id="{22F163B3-F10A-79AD-9FDA-88F1CB847685}"/>
              </a:ext>
            </a:extLst>
          </p:cNvPr>
          <p:cNvSpPr txBox="1"/>
          <p:nvPr/>
        </p:nvSpPr>
        <p:spPr>
          <a:xfrm>
            <a:off x="686358" y="3940254"/>
            <a:ext cx="6101254" cy="338554"/>
          </a:xfrm>
          <a:prstGeom prst="rect">
            <a:avLst/>
          </a:prstGeom>
          <a:noFill/>
        </p:spPr>
        <p:txBody>
          <a:bodyPr wrap="square">
            <a:spAutoFit/>
          </a:bodyPr>
          <a:lstStyle/>
          <a:p>
            <a:r>
              <a:rPr lang="en-US" sz="1600" b="1" dirty="0">
                <a:solidFill>
                  <a:srgbClr val="817A6C"/>
                </a:solidFill>
                <a:latin typeface="Arial" panose="020B0604020202020204" pitchFamily="34" charset="0"/>
                <a:cs typeface="Arial" panose="020B0604020202020204" pitchFamily="34" charset="0"/>
              </a:rPr>
              <a:t>The Key Exports of the State of Qatar</a:t>
            </a:r>
          </a:p>
        </p:txBody>
      </p:sp>
      <p:sp>
        <p:nvSpPr>
          <p:cNvPr id="18" name="Rectangle 17">
            <a:extLst>
              <a:ext uri="{FF2B5EF4-FFF2-40B4-BE49-F238E27FC236}">
                <a16:creationId xmlns:a16="http://schemas.microsoft.com/office/drawing/2014/main" id="{4354EF50-890A-C254-DD38-231C4A7A7A7B}"/>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19" name="Title 2">
            <a:extLst>
              <a:ext uri="{FF2B5EF4-FFF2-40B4-BE49-F238E27FC236}">
                <a16:creationId xmlns:a16="http://schemas.microsoft.com/office/drawing/2014/main" id="{EE065024-94DF-FDAB-0225-D759C4E34C37}"/>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Table of Contents</a:t>
            </a:r>
          </a:p>
        </p:txBody>
      </p:sp>
      <p:cxnSp>
        <p:nvCxnSpPr>
          <p:cNvPr id="20" name="Straight Connector 19">
            <a:extLst>
              <a:ext uri="{FF2B5EF4-FFF2-40B4-BE49-F238E27FC236}">
                <a16:creationId xmlns:a16="http://schemas.microsoft.com/office/drawing/2014/main" id="{8720259A-7EC9-841D-E760-425769733CE0}"/>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90919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6568264-9AF1-EE10-09E5-17A77434003C}"/>
              </a:ext>
            </a:extLst>
          </p:cNvPr>
          <p:cNvGrpSpPr/>
          <p:nvPr/>
        </p:nvGrpSpPr>
        <p:grpSpPr>
          <a:xfrm flipH="1">
            <a:off x="6294783" y="0"/>
            <a:ext cx="5897217" cy="6858000"/>
            <a:chOff x="0" y="-1"/>
            <a:chExt cx="5897217" cy="6858000"/>
          </a:xfrm>
        </p:grpSpPr>
        <p:pic>
          <p:nvPicPr>
            <p:cNvPr id="17" name="Picture 16" descr="A factory with a flame coming out of the chimney&#10;&#10;Description automatically generated">
              <a:extLst>
                <a:ext uri="{FF2B5EF4-FFF2-40B4-BE49-F238E27FC236}">
                  <a16:creationId xmlns:a16="http://schemas.microsoft.com/office/drawing/2014/main" id="{02492F02-D336-C742-6397-17F5287C2FF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0" y="-1"/>
              <a:ext cx="5080001" cy="6858000"/>
            </a:xfrm>
            <a:prstGeom prst="rect">
              <a:avLst/>
            </a:prstGeom>
          </p:spPr>
        </p:pic>
        <p:grpSp>
          <p:nvGrpSpPr>
            <p:cNvPr id="18" name="Group 17">
              <a:extLst>
                <a:ext uri="{FF2B5EF4-FFF2-40B4-BE49-F238E27FC236}">
                  <a16:creationId xmlns:a16="http://schemas.microsoft.com/office/drawing/2014/main" id="{C563B46A-851B-92E4-D850-743650731B5B}"/>
                </a:ext>
              </a:extLst>
            </p:cNvPr>
            <p:cNvGrpSpPr/>
            <p:nvPr/>
          </p:nvGrpSpPr>
          <p:grpSpPr>
            <a:xfrm>
              <a:off x="2354434" y="2849526"/>
              <a:ext cx="3542783" cy="579475"/>
              <a:chOff x="270718" y="52066"/>
              <a:chExt cx="3790058" cy="619920"/>
            </a:xfrm>
            <a:solidFill>
              <a:srgbClr val="7F6000"/>
            </a:solidFill>
          </p:grpSpPr>
          <p:sp>
            <p:nvSpPr>
              <p:cNvPr id="19" name="Rounded Rectangle 16">
                <a:extLst>
                  <a:ext uri="{FF2B5EF4-FFF2-40B4-BE49-F238E27FC236}">
                    <a16:creationId xmlns:a16="http://schemas.microsoft.com/office/drawing/2014/main" id="{EA7F09DE-A9F6-703F-91DF-8AA7CC3C9876}"/>
                  </a:ext>
                </a:extLst>
              </p:cNvPr>
              <p:cNvSpPr/>
              <p:nvPr/>
            </p:nvSpPr>
            <p:spPr>
              <a:xfrm>
                <a:off x="270718" y="52066"/>
                <a:ext cx="3790058" cy="619920"/>
              </a:xfrm>
              <a:prstGeom prst="roundRect">
                <a:avLst/>
              </a:prstGeom>
              <a:grpFill/>
              <a:ln w="12700" cap="flat" cmpd="sng" algn="ctr">
                <a:noFill/>
                <a:prstDash val="solid"/>
                <a:miter lim="800000"/>
              </a:ln>
              <a:effectLst/>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QA" sz="1200" b="1" i="0" u="none" strike="noStrike" kern="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endParaRPr>
              </a:p>
            </p:txBody>
          </p:sp>
          <p:sp>
            <p:nvSpPr>
              <p:cNvPr id="20" name="Rounded Rectangle 4">
                <a:extLst>
                  <a:ext uri="{FF2B5EF4-FFF2-40B4-BE49-F238E27FC236}">
                    <a16:creationId xmlns:a16="http://schemas.microsoft.com/office/drawing/2014/main" id="{40073D16-1765-804E-13E0-AF147D6E6064}"/>
                  </a:ext>
                </a:extLst>
              </p:cNvPr>
              <p:cNvSpPr txBox="1"/>
              <p:nvPr/>
            </p:nvSpPr>
            <p:spPr>
              <a:xfrm>
                <a:off x="300980" y="82328"/>
                <a:ext cx="3729534" cy="559396"/>
              </a:xfrm>
              <a:prstGeom prst="rect">
                <a:avLst/>
              </a:prstGeom>
              <a:grpFill/>
              <a:ln>
                <a:noFill/>
              </a:ln>
              <a:effectLst/>
            </p:spPr>
            <p:txBody>
              <a:bodyPr spcFirstLastPara="0" vert="horz" wrap="square" lIns="71628" tIns="0" rIns="71628" bIns="0" numCol="1" spcCol="1270" anchor="ctr" anchorCtr="0">
                <a:noAutofit/>
              </a:bodyPr>
              <a:lstStyle/>
              <a:p>
                <a:pPr marL="0" marR="0" lvl="0" indent="0" algn="ctr" defTabSz="466725" eaLnBrk="1" fontAlgn="auto" latinLnBrk="0" hangingPunct="1">
                  <a:lnSpc>
                    <a:spcPct val="90000"/>
                  </a:lnSpc>
                  <a:spcBef>
                    <a:spcPct val="0"/>
                  </a:spcBef>
                  <a:spcAft>
                    <a:spcPct val="35000"/>
                  </a:spcAft>
                  <a:buClr>
                    <a:srgbClr val="000000"/>
                  </a:buClr>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Market Expansion</a:t>
                </a:r>
              </a:p>
            </p:txBody>
          </p:sp>
        </p:grpSp>
        <p:grpSp>
          <p:nvGrpSpPr>
            <p:cNvPr id="21" name="Group 20">
              <a:extLst>
                <a:ext uri="{FF2B5EF4-FFF2-40B4-BE49-F238E27FC236}">
                  <a16:creationId xmlns:a16="http://schemas.microsoft.com/office/drawing/2014/main" id="{BC7C4A45-6F6E-5B59-FEA0-4E1CA31DFBB4}"/>
                </a:ext>
              </a:extLst>
            </p:cNvPr>
            <p:cNvGrpSpPr/>
            <p:nvPr/>
          </p:nvGrpSpPr>
          <p:grpSpPr>
            <a:xfrm>
              <a:off x="2354434" y="3537084"/>
              <a:ext cx="3542783" cy="579475"/>
              <a:chOff x="270718" y="1004626"/>
              <a:chExt cx="3790058" cy="619920"/>
            </a:xfrm>
            <a:solidFill>
              <a:srgbClr val="7F6000"/>
            </a:solidFill>
          </p:grpSpPr>
          <p:sp>
            <p:nvSpPr>
              <p:cNvPr id="22" name="Rounded Rectangle 14">
                <a:extLst>
                  <a:ext uri="{FF2B5EF4-FFF2-40B4-BE49-F238E27FC236}">
                    <a16:creationId xmlns:a16="http://schemas.microsoft.com/office/drawing/2014/main" id="{52212A3E-B0C8-5837-F612-1F87192A645C}"/>
                  </a:ext>
                </a:extLst>
              </p:cNvPr>
              <p:cNvSpPr/>
              <p:nvPr/>
            </p:nvSpPr>
            <p:spPr>
              <a:xfrm>
                <a:off x="270718" y="1004626"/>
                <a:ext cx="3790058" cy="619920"/>
              </a:xfrm>
              <a:prstGeom prst="roundRect">
                <a:avLst/>
              </a:prstGeom>
              <a:grpFill/>
              <a:ln w="12700" cap="flat" cmpd="sng" algn="ctr">
                <a:noFill/>
                <a:prstDash val="solid"/>
                <a:miter lim="800000"/>
              </a:ln>
              <a:effectLst/>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QA" sz="1200" b="1" i="0" u="none" strike="noStrike" kern="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endParaRPr>
              </a:p>
            </p:txBody>
          </p:sp>
          <p:sp>
            <p:nvSpPr>
              <p:cNvPr id="23" name="Rounded Rectangle 6">
                <a:extLst>
                  <a:ext uri="{FF2B5EF4-FFF2-40B4-BE49-F238E27FC236}">
                    <a16:creationId xmlns:a16="http://schemas.microsoft.com/office/drawing/2014/main" id="{5554C8B6-68B8-AC5A-4710-8C51A625577F}"/>
                  </a:ext>
                </a:extLst>
              </p:cNvPr>
              <p:cNvSpPr txBox="1"/>
              <p:nvPr/>
            </p:nvSpPr>
            <p:spPr>
              <a:xfrm>
                <a:off x="300979" y="1034888"/>
                <a:ext cx="3729534" cy="559396"/>
              </a:xfrm>
              <a:prstGeom prst="rect">
                <a:avLst/>
              </a:prstGeom>
              <a:grpFill/>
              <a:ln>
                <a:noFill/>
              </a:ln>
              <a:effectLst/>
            </p:spPr>
            <p:txBody>
              <a:bodyPr spcFirstLastPara="0" vert="horz" wrap="square" lIns="71628" tIns="0" rIns="71628" bIns="0" numCol="1" spcCol="1270" anchor="ctr" anchorCtr="0">
                <a:noAutofit/>
              </a:bodyPr>
              <a:lstStyle/>
              <a:p>
                <a:pPr algn="ctr" defTabSz="466725">
                  <a:lnSpc>
                    <a:spcPct val="90000"/>
                  </a:lnSpc>
                  <a:spcBef>
                    <a:spcPct val="0"/>
                  </a:spcBef>
                  <a:spcAft>
                    <a:spcPct val="35000"/>
                  </a:spcAft>
                  <a:buClr>
                    <a:srgbClr val="000000"/>
                  </a:buClr>
                  <a:defRPr/>
                </a:pPr>
                <a:r>
                  <a:rPr lang="en-US" sz="1400" b="1" kern="0" dirty="0">
                    <a:solidFill>
                      <a:srgbClr val="FFFFFF"/>
                    </a:solidFill>
                    <a:latin typeface="Arial" panose="020B0604020202020204" pitchFamily="34" charset="0"/>
                    <a:cs typeface="Arial" panose="020B0604020202020204" pitchFamily="34" charset="0"/>
                  </a:rPr>
                  <a:t>Access to Shared Resources</a:t>
                </a:r>
              </a:p>
            </p:txBody>
          </p:sp>
        </p:grpSp>
        <p:grpSp>
          <p:nvGrpSpPr>
            <p:cNvPr id="24" name="Group 23">
              <a:extLst>
                <a:ext uri="{FF2B5EF4-FFF2-40B4-BE49-F238E27FC236}">
                  <a16:creationId xmlns:a16="http://schemas.microsoft.com/office/drawing/2014/main" id="{DF8A0EE4-F3D1-C21F-C57E-8CA60C299508}"/>
                </a:ext>
              </a:extLst>
            </p:cNvPr>
            <p:cNvGrpSpPr/>
            <p:nvPr/>
          </p:nvGrpSpPr>
          <p:grpSpPr>
            <a:xfrm>
              <a:off x="2354434" y="4224643"/>
              <a:ext cx="3542783" cy="579475"/>
              <a:chOff x="270718" y="1957186"/>
              <a:chExt cx="3790058" cy="619920"/>
            </a:xfrm>
            <a:solidFill>
              <a:srgbClr val="7F6000"/>
            </a:solidFill>
          </p:grpSpPr>
          <p:sp>
            <p:nvSpPr>
              <p:cNvPr id="25" name="Rounded Rectangle 12">
                <a:extLst>
                  <a:ext uri="{FF2B5EF4-FFF2-40B4-BE49-F238E27FC236}">
                    <a16:creationId xmlns:a16="http://schemas.microsoft.com/office/drawing/2014/main" id="{100454E0-96A1-A037-ECF6-53299130CE6F}"/>
                  </a:ext>
                </a:extLst>
              </p:cNvPr>
              <p:cNvSpPr/>
              <p:nvPr/>
            </p:nvSpPr>
            <p:spPr>
              <a:xfrm>
                <a:off x="270718" y="1957186"/>
                <a:ext cx="3790058" cy="619920"/>
              </a:xfrm>
              <a:prstGeom prst="roundRect">
                <a:avLst/>
              </a:prstGeom>
              <a:grpFill/>
              <a:ln w="12700" cap="flat" cmpd="sng" algn="ctr">
                <a:noFill/>
                <a:prstDash val="solid"/>
                <a:miter lim="800000"/>
              </a:ln>
              <a:effectLst/>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0" lang="en-QA" sz="1200" b="1" i="0" u="none" strike="noStrike" kern="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endParaRPr>
              </a:p>
            </p:txBody>
          </p:sp>
          <p:sp>
            <p:nvSpPr>
              <p:cNvPr id="26" name="Rounded Rectangle 8">
                <a:extLst>
                  <a:ext uri="{FF2B5EF4-FFF2-40B4-BE49-F238E27FC236}">
                    <a16:creationId xmlns:a16="http://schemas.microsoft.com/office/drawing/2014/main" id="{9918226C-D0BA-CE19-6B43-33F05F7BF575}"/>
                  </a:ext>
                </a:extLst>
              </p:cNvPr>
              <p:cNvSpPr txBox="1"/>
              <p:nvPr/>
            </p:nvSpPr>
            <p:spPr>
              <a:xfrm>
                <a:off x="300980" y="1987447"/>
                <a:ext cx="3729534" cy="559396"/>
              </a:xfrm>
              <a:prstGeom prst="rect">
                <a:avLst/>
              </a:prstGeom>
              <a:grpFill/>
              <a:ln>
                <a:noFill/>
              </a:ln>
              <a:effectLst/>
            </p:spPr>
            <p:txBody>
              <a:bodyPr spcFirstLastPara="0" vert="horz" wrap="square" lIns="71628" tIns="0" rIns="71628" bIns="0" numCol="1" spcCol="1270" anchor="ctr" anchorCtr="0">
                <a:noAutofit/>
              </a:bodyPr>
              <a:lstStyle/>
              <a:p>
                <a:pPr algn="ctr" defTabSz="466725">
                  <a:lnSpc>
                    <a:spcPct val="90000"/>
                  </a:lnSpc>
                  <a:spcBef>
                    <a:spcPct val="0"/>
                  </a:spcBef>
                  <a:spcAft>
                    <a:spcPct val="35000"/>
                  </a:spcAft>
                  <a:buClr>
                    <a:srgbClr val="000000"/>
                  </a:buClr>
                  <a:defRPr/>
                </a:pPr>
                <a:r>
                  <a:rPr lang="en-US" sz="1400" b="1" kern="0" dirty="0">
                    <a:solidFill>
                      <a:srgbClr val="FFFFFF"/>
                    </a:solidFill>
                    <a:latin typeface="Arial" panose="020B0604020202020204" pitchFamily="34" charset="0"/>
                    <a:cs typeface="Arial" panose="020B0604020202020204" pitchFamily="34" charset="0"/>
                  </a:rPr>
                  <a:t>Strengthening Ties Between participating Countries</a:t>
                </a:r>
                <a:endParaRPr lang="ar-QA" sz="1400" b="1" kern="0" dirty="0">
                  <a:solidFill>
                    <a:srgbClr val="FFFFFF"/>
                  </a:solidFill>
                  <a:latin typeface="Arial" panose="020B0604020202020204" pitchFamily="34" charset="0"/>
                  <a:cs typeface="Arial" panose="020B0604020202020204" pitchFamily="34" charset="0"/>
                </a:endParaRPr>
              </a:p>
            </p:txBody>
          </p:sp>
        </p:grpSp>
      </p:grpSp>
      <p:sp>
        <p:nvSpPr>
          <p:cNvPr id="6" name="TextBox 5">
            <a:extLst>
              <a:ext uri="{FF2B5EF4-FFF2-40B4-BE49-F238E27FC236}">
                <a16:creationId xmlns:a16="http://schemas.microsoft.com/office/drawing/2014/main" id="{5816B178-167D-0487-C8E7-A8672B0F3599}"/>
              </a:ext>
            </a:extLst>
          </p:cNvPr>
          <p:cNvSpPr txBox="1"/>
          <p:nvPr/>
        </p:nvSpPr>
        <p:spPr>
          <a:xfrm>
            <a:off x="571500" y="1841663"/>
            <a:ext cx="4672219" cy="3970318"/>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rtl="1"/>
            <a:r>
              <a:rPr lang="en-US" sz="1400" b="1" dirty="0">
                <a:solidFill>
                  <a:srgbClr val="817A6C"/>
                </a:solidFill>
                <a:latin typeface="Arial" panose="020B0604020202020204" pitchFamily="34" charset="0"/>
                <a:cs typeface="Arial" panose="020B0604020202020204" pitchFamily="34" charset="0"/>
              </a:rPr>
              <a:t>Evaluation of Qatar's Industrial Competitive Advantages and Their Contribution to Achieving Partnership Goals:</a:t>
            </a:r>
          </a:p>
          <a:p>
            <a:pPr rtl="1"/>
            <a:endParaRPr lang="en-US" sz="1400" b="1" dirty="0">
              <a:solidFill>
                <a:srgbClr val="817A6C"/>
              </a:solidFill>
              <a:latin typeface="Arial" panose="020B0604020202020204" pitchFamily="34" charset="0"/>
              <a:cs typeface="Arial" panose="020B0604020202020204" pitchFamily="34" charset="0"/>
            </a:endParaRPr>
          </a:p>
          <a:p>
            <a:pPr rtl="1"/>
            <a:r>
              <a:rPr lang="en-US" sz="1400" b="1" dirty="0">
                <a:solidFill>
                  <a:srgbClr val="817A6C"/>
                </a:solidFill>
                <a:latin typeface="Arial" panose="020B0604020202020204" pitchFamily="34" charset="0"/>
                <a:cs typeface="Arial" panose="020B0604020202020204" pitchFamily="34" charset="0"/>
              </a:rPr>
              <a:t>Petrochemicals and Fertilizers: </a:t>
            </a:r>
            <a:r>
              <a:rPr lang="en-US" sz="1400" dirty="0">
                <a:solidFill>
                  <a:srgbClr val="817A6C"/>
                </a:solidFill>
                <a:latin typeface="Arial" panose="020B0604020202020204" pitchFamily="34" charset="0"/>
                <a:cs typeface="Arial" panose="020B0604020202020204" pitchFamily="34" charset="0"/>
              </a:rPr>
              <a:t>Qatar's petrochemical and fertilizer sectors enable participation in value-added partnerships, offering essential products for agriculture and various industries worldwide. These sectors can attract foreign investment, facilitate technology exchange, and open new markets, thereby strengthening Qatar’s global trade relationships.</a:t>
            </a:r>
          </a:p>
          <a:p>
            <a:pPr rtl="1"/>
            <a:endParaRPr lang="en-US" sz="1400" dirty="0">
              <a:solidFill>
                <a:srgbClr val="817A6C"/>
              </a:solidFill>
              <a:latin typeface="Arial" panose="020B0604020202020204" pitchFamily="34" charset="0"/>
              <a:cs typeface="Arial" panose="020B0604020202020204" pitchFamily="34" charset="0"/>
            </a:endParaRPr>
          </a:p>
          <a:p>
            <a:pPr rtl="1"/>
            <a:r>
              <a:rPr lang="en-US" sz="1400" b="1" dirty="0">
                <a:solidFill>
                  <a:srgbClr val="817A6C"/>
                </a:solidFill>
                <a:latin typeface="Arial" panose="020B0604020202020204" pitchFamily="34" charset="0"/>
                <a:cs typeface="Arial" panose="020B0604020202020204" pitchFamily="34" charset="0"/>
              </a:rPr>
              <a:t>Iron and Steel: </a:t>
            </a:r>
            <a:r>
              <a:rPr lang="en-US" sz="1400" dirty="0">
                <a:solidFill>
                  <a:srgbClr val="817A6C"/>
                </a:solidFill>
                <a:latin typeface="Arial" panose="020B0604020202020204" pitchFamily="34" charset="0"/>
                <a:cs typeface="Arial" panose="020B0604020202020204" pitchFamily="34" charset="0"/>
              </a:rPr>
              <a:t>The iron and steel sector can drive economic partnerships by providing high-quality materials for global construction projects. Collaborating with international companies on infrastructure projects enhances knowledge exchange and technological advancements in sustainable construction practices</a:t>
            </a:r>
          </a:p>
        </p:txBody>
      </p:sp>
      <p:sp>
        <p:nvSpPr>
          <p:cNvPr id="7" name="Rectangle 17">
            <a:extLst>
              <a:ext uri="{FF2B5EF4-FFF2-40B4-BE49-F238E27FC236}">
                <a16:creationId xmlns:a16="http://schemas.microsoft.com/office/drawing/2014/main" id="{9BE90530-8DF3-0CDF-34B9-FA3EA0FEC598}"/>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8" name="Title 2">
            <a:extLst>
              <a:ext uri="{FF2B5EF4-FFF2-40B4-BE49-F238E27FC236}">
                <a16:creationId xmlns:a16="http://schemas.microsoft.com/office/drawing/2014/main" id="{911FB1ED-3FE2-5F69-409D-7EA3D4C67679}"/>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Summary of the Objectives and Expected Benefits</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 of the State’s Participation in the Partnership</a:t>
            </a:r>
          </a:p>
        </p:txBody>
      </p:sp>
      <p:cxnSp>
        <p:nvCxnSpPr>
          <p:cNvPr id="9" name="Straight Connector 8">
            <a:extLst>
              <a:ext uri="{FF2B5EF4-FFF2-40B4-BE49-F238E27FC236}">
                <a16:creationId xmlns:a16="http://schemas.microsoft.com/office/drawing/2014/main" id="{FB9B52C1-A4AD-ABD5-9C1A-03233FBA3899}"/>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4158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DC9FF07-8740-327E-4002-1E6ABACAEDEC}"/>
              </a:ext>
            </a:extLst>
          </p:cNvPr>
          <p:cNvGrpSpPr/>
          <p:nvPr/>
        </p:nvGrpSpPr>
        <p:grpSpPr>
          <a:xfrm flipH="1">
            <a:off x="411763" y="1476403"/>
            <a:ext cx="5348897" cy="5085703"/>
            <a:chOff x="6843103" y="1369802"/>
            <a:chExt cx="5348897" cy="4304767"/>
          </a:xfrm>
        </p:grpSpPr>
        <p:sp>
          <p:nvSpPr>
            <p:cNvPr id="6" name="Rectangle 5">
              <a:extLst>
                <a:ext uri="{FF2B5EF4-FFF2-40B4-BE49-F238E27FC236}">
                  <a16:creationId xmlns:a16="http://schemas.microsoft.com/office/drawing/2014/main" id="{D03B429A-7FE6-F75A-EB69-B78460E054F1}"/>
                </a:ext>
              </a:extLst>
            </p:cNvPr>
            <p:cNvSpPr>
              <a:spLocks/>
            </p:cNvSpPr>
            <p:nvPr/>
          </p:nvSpPr>
          <p:spPr>
            <a:xfrm flipH="1">
              <a:off x="6857999" y="4338971"/>
              <a:ext cx="5334001" cy="620677"/>
            </a:xfrm>
            <a:prstGeom prst="rect">
              <a:avLst/>
            </a:prstGeom>
            <a:gradFill flip="none" rotWithShape="1">
              <a:gsLst>
                <a:gs pos="0">
                  <a:srgbClr val="7F6000">
                    <a:tint val="66000"/>
                    <a:satMod val="160000"/>
                    <a:alpha val="14000"/>
                  </a:srgbClr>
                </a:gs>
                <a:gs pos="50000">
                  <a:srgbClr val="7F6000">
                    <a:tint val="44500"/>
                    <a:satMod val="160000"/>
                  </a:srgbClr>
                </a:gs>
                <a:gs pos="100000">
                  <a:srgbClr val="7F6000">
                    <a:tint val="23500"/>
                    <a:satMod val="160000"/>
                  </a:srgbClr>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endParaRPr lang="ar" sz="2200" dirty="0">
                <a:solidFill>
                  <a:srgbClr val="FFFFFF"/>
                </a:solidFill>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7" name="Rectangle 6">
              <a:extLst>
                <a:ext uri="{FF2B5EF4-FFF2-40B4-BE49-F238E27FC236}">
                  <a16:creationId xmlns:a16="http://schemas.microsoft.com/office/drawing/2014/main" id="{C6364108-0DEB-D6F6-6D50-9B45B8327E05}"/>
                </a:ext>
              </a:extLst>
            </p:cNvPr>
            <p:cNvSpPr>
              <a:spLocks/>
            </p:cNvSpPr>
            <p:nvPr/>
          </p:nvSpPr>
          <p:spPr>
            <a:xfrm flipH="1">
              <a:off x="6857999" y="1369802"/>
              <a:ext cx="5334001" cy="620677"/>
            </a:xfrm>
            <a:prstGeom prst="rect">
              <a:avLst/>
            </a:prstGeom>
            <a:gradFill flip="none" rotWithShape="1">
              <a:gsLst>
                <a:gs pos="0">
                  <a:srgbClr val="7F6000">
                    <a:tint val="66000"/>
                    <a:satMod val="160000"/>
                    <a:alpha val="14000"/>
                  </a:srgbClr>
                </a:gs>
                <a:gs pos="50000">
                  <a:srgbClr val="7F6000">
                    <a:tint val="44500"/>
                    <a:satMod val="160000"/>
                  </a:srgbClr>
                </a:gs>
                <a:gs pos="100000">
                  <a:srgbClr val="7F6000">
                    <a:tint val="23500"/>
                    <a:satMod val="160000"/>
                  </a:srgbClr>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ar" sz="2200" b="0"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grpSp>
          <p:nvGrpSpPr>
            <p:cNvPr id="10" name="Group 36">
              <a:extLst>
                <a:ext uri="{FF2B5EF4-FFF2-40B4-BE49-F238E27FC236}">
                  <a16:creationId xmlns:a16="http://schemas.microsoft.com/office/drawing/2014/main" id="{D5856715-54FE-D5A9-12A8-4E36674FA045}"/>
                </a:ext>
              </a:extLst>
            </p:cNvPr>
            <p:cNvGrpSpPr>
              <a:grpSpLocks noChangeAspect="1"/>
            </p:cNvGrpSpPr>
            <p:nvPr/>
          </p:nvGrpSpPr>
          <p:grpSpPr bwMode="auto">
            <a:xfrm>
              <a:off x="11265279" y="1395146"/>
              <a:ext cx="569988" cy="569988"/>
              <a:chOff x="12189858" y="-574"/>
              <a:chExt cx="1036" cy="1036"/>
            </a:xfrm>
          </p:grpSpPr>
          <p:sp>
            <p:nvSpPr>
              <p:cNvPr id="36" name="AutoShape 35">
                <a:extLst>
                  <a:ext uri="{FF2B5EF4-FFF2-40B4-BE49-F238E27FC236}">
                    <a16:creationId xmlns:a16="http://schemas.microsoft.com/office/drawing/2014/main" id="{24F84C9F-1370-5B0A-8CCD-E43E335AADEF}"/>
                  </a:ext>
                </a:extLst>
              </p:cNvPr>
              <p:cNvSpPr>
                <a:spLocks noChangeAspect="1" noChangeArrowheads="1" noTextEdit="1"/>
              </p:cNvSpPr>
              <p:nvPr/>
            </p:nvSpPr>
            <p:spPr bwMode="auto">
              <a:xfrm flipH="1">
                <a:off x="12189858" y="-574"/>
                <a:ext cx="1036" cy="1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1800" b="0" i="0" u="none" strike="noStrike" kern="120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7" name="Freeform 37">
                <a:extLst>
                  <a:ext uri="{FF2B5EF4-FFF2-40B4-BE49-F238E27FC236}">
                    <a16:creationId xmlns:a16="http://schemas.microsoft.com/office/drawing/2014/main" id="{15FD56B6-51E3-9E29-3022-976511ABF657}"/>
                  </a:ext>
                </a:extLst>
              </p:cNvPr>
              <p:cNvSpPr>
                <a:spLocks noEditPoints="1"/>
              </p:cNvSpPr>
              <p:nvPr/>
            </p:nvSpPr>
            <p:spPr bwMode="auto">
              <a:xfrm>
                <a:off x="12189962" y="-449"/>
                <a:ext cx="827" cy="787"/>
              </a:xfrm>
              <a:custGeom>
                <a:avLst/>
                <a:gdLst>
                  <a:gd name="T0" fmla="*/ 153 w 1840"/>
                  <a:gd name="T1" fmla="*/ 651 h 1750"/>
                  <a:gd name="T2" fmla="*/ 263 w 1840"/>
                  <a:gd name="T3" fmla="*/ 497 h 1750"/>
                  <a:gd name="T4" fmla="*/ 198 w 1840"/>
                  <a:gd name="T5" fmla="*/ 690 h 1750"/>
                  <a:gd name="T6" fmla="*/ 1062 w 1840"/>
                  <a:gd name="T7" fmla="*/ 886 h 1750"/>
                  <a:gd name="T8" fmla="*/ 1062 w 1840"/>
                  <a:gd name="T9" fmla="*/ 886 h 1750"/>
                  <a:gd name="T10" fmla="*/ 710 w 1840"/>
                  <a:gd name="T11" fmla="*/ 116 h 1750"/>
                  <a:gd name="T12" fmla="*/ 824 w 1840"/>
                  <a:gd name="T13" fmla="*/ 186 h 1750"/>
                  <a:gd name="T14" fmla="*/ 275 w 1840"/>
                  <a:gd name="T15" fmla="*/ 1456 h 1750"/>
                  <a:gd name="T16" fmla="*/ 802 w 1840"/>
                  <a:gd name="T17" fmla="*/ 273 h 1750"/>
                  <a:gd name="T18" fmla="*/ 824 w 1840"/>
                  <a:gd name="T19" fmla="*/ 274 h 1750"/>
                  <a:gd name="T20" fmla="*/ 630 w 1840"/>
                  <a:gd name="T21" fmla="*/ 308 h 1750"/>
                  <a:gd name="T22" fmla="*/ 414 w 1840"/>
                  <a:gd name="T23" fmla="*/ 704 h 1750"/>
                  <a:gd name="T24" fmla="*/ 414 w 1840"/>
                  <a:gd name="T25" fmla="*/ 704 h 1750"/>
                  <a:gd name="T26" fmla="*/ 1369 w 1840"/>
                  <a:gd name="T27" fmla="*/ 372 h 1750"/>
                  <a:gd name="T28" fmla="*/ 1255 w 1840"/>
                  <a:gd name="T29" fmla="*/ 302 h 1750"/>
                  <a:gd name="T30" fmla="*/ 1665 w 1840"/>
                  <a:gd name="T31" fmla="*/ 1728 h 1750"/>
                  <a:gd name="T32" fmla="*/ 1665 w 1840"/>
                  <a:gd name="T33" fmla="*/ 351 h 1750"/>
                  <a:gd name="T34" fmla="*/ 1277 w 1840"/>
                  <a:gd name="T35" fmla="*/ 529 h 1750"/>
                  <a:gd name="T36" fmla="*/ 1493 w 1840"/>
                  <a:gd name="T37" fmla="*/ 1728 h 1750"/>
                  <a:gd name="T38" fmla="*/ 533 w 1840"/>
                  <a:gd name="T39" fmla="*/ 1627 h 1750"/>
                  <a:gd name="T40" fmla="*/ 200 w 1840"/>
                  <a:gd name="T41" fmla="*/ 1216 h 1750"/>
                  <a:gd name="T42" fmla="*/ 475 w 1840"/>
                  <a:gd name="T43" fmla="*/ 1272 h 1750"/>
                  <a:gd name="T44" fmla="*/ 506 w 1840"/>
                  <a:gd name="T45" fmla="*/ 1278 h 1750"/>
                  <a:gd name="T46" fmla="*/ 526 w 1840"/>
                  <a:gd name="T47" fmla="*/ 1291 h 1750"/>
                  <a:gd name="T48" fmla="*/ 540 w 1840"/>
                  <a:gd name="T49" fmla="*/ 1306 h 1750"/>
                  <a:gd name="T50" fmla="*/ 554 w 1840"/>
                  <a:gd name="T51" fmla="*/ 1337 h 1750"/>
                  <a:gd name="T52" fmla="*/ 677 w 1840"/>
                  <a:gd name="T53" fmla="*/ 1325 h 1750"/>
                  <a:gd name="T54" fmla="*/ 492 w 1840"/>
                  <a:gd name="T55" fmla="*/ 1148 h 1750"/>
                  <a:gd name="T56" fmla="*/ 580 w 1840"/>
                  <a:gd name="T57" fmla="*/ 922 h 1750"/>
                  <a:gd name="T58" fmla="*/ 713 w 1840"/>
                  <a:gd name="T59" fmla="*/ 1073 h 1750"/>
                  <a:gd name="T60" fmla="*/ 651 w 1840"/>
                  <a:gd name="T61" fmla="*/ 1177 h 1750"/>
                  <a:gd name="T62" fmla="*/ 730 w 1840"/>
                  <a:gd name="T63" fmla="*/ 1395 h 1750"/>
                  <a:gd name="T64" fmla="*/ 580 w 1840"/>
                  <a:gd name="T65" fmla="*/ 1445 h 1750"/>
                  <a:gd name="T66" fmla="*/ 533 w 1840"/>
                  <a:gd name="T67" fmla="*/ 1627 h 1750"/>
                  <a:gd name="T68" fmla="*/ 1840 w 1840"/>
                  <a:gd name="T69" fmla="*/ 154 h 1750"/>
                  <a:gd name="T70" fmla="*/ 1687 w 1840"/>
                  <a:gd name="T71" fmla="*/ 44 h 1750"/>
                  <a:gd name="T72" fmla="*/ 413 w 1840"/>
                  <a:gd name="T73" fmla="*/ 1581 h 1750"/>
                  <a:gd name="T74" fmla="*/ 1018 w 1840"/>
                  <a:gd name="T75" fmla="*/ 1728 h 1750"/>
                  <a:gd name="T76" fmla="*/ 1018 w 1840"/>
                  <a:gd name="T77" fmla="*/ 1728 h 1750"/>
                  <a:gd name="T78" fmla="*/ 1108 w 1840"/>
                  <a:gd name="T79" fmla="*/ 321 h 1750"/>
                  <a:gd name="T80" fmla="*/ 319 w 1840"/>
                  <a:gd name="T81" fmla="*/ 389 h 1750"/>
                  <a:gd name="T82" fmla="*/ 1410 w 1840"/>
                  <a:gd name="T83" fmla="*/ 332 h 1750"/>
                  <a:gd name="T84" fmla="*/ 453 w 1840"/>
                  <a:gd name="T85" fmla="*/ 1559 h 1750"/>
                  <a:gd name="T86" fmla="*/ 530 w 1840"/>
                  <a:gd name="T87" fmla="*/ 1552 h 1750"/>
                  <a:gd name="T88" fmla="*/ 510 w 1840"/>
                  <a:gd name="T89" fmla="*/ 1343 h 1750"/>
                  <a:gd name="T90" fmla="*/ 503 w 1840"/>
                  <a:gd name="T91" fmla="*/ 1330 h 1750"/>
                  <a:gd name="T92" fmla="*/ 492 w 1840"/>
                  <a:gd name="T93" fmla="*/ 1321 h 1750"/>
                  <a:gd name="T94" fmla="*/ 478 w 1840"/>
                  <a:gd name="T95" fmla="*/ 1317 h 1750"/>
                  <a:gd name="T96" fmla="*/ 269 w 1840"/>
                  <a:gd name="T97" fmla="*/ 1335 h 1750"/>
                  <a:gd name="T98" fmla="*/ 276 w 1840"/>
                  <a:gd name="T99" fmla="*/ 1412 h 1750"/>
                  <a:gd name="T100" fmla="*/ 210 w 1840"/>
                  <a:gd name="T101" fmla="*/ 1731 h 1750"/>
                  <a:gd name="T102" fmla="*/ 112 w 1840"/>
                  <a:gd name="T103" fmla="*/ 1216 h 1750"/>
                  <a:gd name="T104" fmla="*/ 195 w 1840"/>
                  <a:gd name="T105" fmla="*/ 1404 h 1750"/>
                  <a:gd name="T106" fmla="*/ 620 w 1840"/>
                  <a:gd name="T107" fmla="*/ 1680 h 1750"/>
                  <a:gd name="T108" fmla="*/ 1128 w 1840"/>
                  <a:gd name="T109" fmla="*/ 1216 h 1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0" h="1750">
                    <a:moveTo>
                      <a:pt x="307" y="497"/>
                    </a:moveTo>
                    <a:cubicBezTo>
                      <a:pt x="307" y="412"/>
                      <a:pt x="237" y="343"/>
                      <a:pt x="153" y="343"/>
                    </a:cubicBezTo>
                    <a:cubicBezTo>
                      <a:pt x="69" y="343"/>
                      <a:pt x="0" y="412"/>
                      <a:pt x="0" y="497"/>
                    </a:cubicBezTo>
                    <a:cubicBezTo>
                      <a:pt x="0" y="581"/>
                      <a:pt x="69" y="651"/>
                      <a:pt x="153" y="651"/>
                    </a:cubicBezTo>
                    <a:cubicBezTo>
                      <a:pt x="237" y="651"/>
                      <a:pt x="307" y="581"/>
                      <a:pt x="307" y="497"/>
                    </a:cubicBezTo>
                    <a:close/>
                    <a:moveTo>
                      <a:pt x="44" y="497"/>
                    </a:moveTo>
                    <a:cubicBezTo>
                      <a:pt x="44" y="436"/>
                      <a:pt x="93" y="387"/>
                      <a:pt x="153" y="387"/>
                    </a:cubicBezTo>
                    <a:cubicBezTo>
                      <a:pt x="213" y="387"/>
                      <a:pt x="263" y="436"/>
                      <a:pt x="263" y="497"/>
                    </a:cubicBezTo>
                    <a:cubicBezTo>
                      <a:pt x="263" y="557"/>
                      <a:pt x="213" y="607"/>
                      <a:pt x="153" y="607"/>
                    </a:cubicBezTo>
                    <a:cubicBezTo>
                      <a:pt x="93" y="607"/>
                      <a:pt x="44" y="557"/>
                      <a:pt x="44" y="497"/>
                    </a:cubicBezTo>
                    <a:close/>
                    <a:moveTo>
                      <a:pt x="198" y="860"/>
                    </a:moveTo>
                    <a:cubicBezTo>
                      <a:pt x="198" y="690"/>
                      <a:pt x="198" y="690"/>
                      <a:pt x="198" y="690"/>
                    </a:cubicBezTo>
                    <a:cubicBezTo>
                      <a:pt x="184" y="694"/>
                      <a:pt x="169" y="695"/>
                      <a:pt x="154" y="695"/>
                    </a:cubicBezTo>
                    <a:cubicBezTo>
                      <a:pt x="154" y="920"/>
                      <a:pt x="154" y="920"/>
                      <a:pt x="154" y="920"/>
                    </a:cubicBezTo>
                    <a:cubicBezTo>
                      <a:pt x="168" y="899"/>
                      <a:pt x="182" y="879"/>
                      <a:pt x="198" y="860"/>
                    </a:cubicBezTo>
                    <a:close/>
                    <a:moveTo>
                      <a:pt x="1062" y="886"/>
                    </a:moveTo>
                    <a:cubicBezTo>
                      <a:pt x="1062" y="415"/>
                      <a:pt x="1062" y="345"/>
                      <a:pt x="1062" y="345"/>
                    </a:cubicBezTo>
                    <a:cubicBezTo>
                      <a:pt x="1018" y="320"/>
                      <a:pt x="1018" y="320"/>
                      <a:pt x="1018" y="320"/>
                    </a:cubicBezTo>
                    <a:cubicBezTo>
                      <a:pt x="1018" y="834"/>
                      <a:pt x="1018" y="834"/>
                      <a:pt x="1018" y="834"/>
                    </a:cubicBezTo>
                    <a:cubicBezTo>
                      <a:pt x="1033" y="851"/>
                      <a:pt x="1048" y="868"/>
                      <a:pt x="1062" y="886"/>
                    </a:cubicBezTo>
                    <a:close/>
                    <a:moveTo>
                      <a:pt x="824" y="230"/>
                    </a:moveTo>
                    <a:cubicBezTo>
                      <a:pt x="886" y="230"/>
                      <a:pt x="938" y="179"/>
                      <a:pt x="938" y="116"/>
                    </a:cubicBezTo>
                    <a:cubicBezTo>
                      <a:pt x="938" y="54"/>
                      <a:pt x="886" y="2"/>
                      <a:pt x="824" y="2"/>
                    </a:cubicBezTo>
                    <a:cubicBezTo>
                      <a:pt x="761" y="2"/>
                      <a:pt x="710" y="54"/>
                      <a:pt x="710" y="116"/>
                    </a:cubicBezTo>
                    <a:cubicBezTo>
                      <a:pt x="710" y="179"/>
                      <a:pt x="761" y="230"/>
                      <a:pt x="824" y="230"/>
                    </a:cubicBezTo>
                    <a:close/>
                    <a:moveTo>
                      <a:pt x="824" y="46"/>
                    </a:moveTo>
                    <a:cubicBezTo>
                      <a:pt x="862" y="46"/>
                      <a:pt x="894" y="78"/>
                      <a:pt x="894" y="116"/>
                    </a:cubicBezTo>
                    <a:cubicBezTo>
                      <a:pt x="894" y="155"/>
                      <a:pt x="862" y="186"/>
                      <a:pt x="824" y="186"/>
                    </a:cubicBezTo>
                    <a:cubicBezTo>
                      <a:pt x="785" y="186"/>
                      <a:pt x="754" y="155"/>
                      <a:pt x="754" y="116"/>
                    </a:cubicBezTo>
                    <a:cubicBezTo>
                      <a:pt x="754" y="78"/>
                      <a:pt x="785" y="46"/>
                      <a:pt x="824" y="46"/>
                    </a:cubicBezTo>
                    <a:close/>
                    <a:moveTo>
                      <a:pt x="280" y="1456"/>
                    </a:moveTo>
                    <a:cubicBezTo>
                      <a:pt x="278" y="1456"/>
                      <a:pt x="277" y="1456"/>
                      <a:pt x="275" y="1456"/>
                    </a:cubicBezTo>
                    <a:cubicBezTo>
                      <a:pt x="276" y="1457"/>
                      <a:pt x="277" y="1458"/>
                      <a:pt x="278" y="1460"/>
                    </a:cubicBezTo>
                    <a:cubicBezTo>
                      <a:pt x="281" y="1456"/>
                      <a:pt x="281" y="1456"/>
                      <a:pt x="281" y="1456"/>
                    </a:cubicBezTo>
                    <a:lnTo>
                      <a:pt x="280" y="1456"/>
                    </a:lnTo>
                    <a:close/>
                    <a:moveTo>
                      <a:pt x="802" y="273"/>
                    </a:moveTo>
                    <a:cubicBezTo>
                      <a:pt x="802" y="695"/>
                      <a:pt x="802" y="695"/>
                      <a:pt x="802" y="695"/>
                    </a:cubicBezTo>
                    <a:cubicBezTo>
                      <a:pt x="817" y="701"/>
                      <a:pt x="832" y="706"/>
                      <a:pt x="846" y="713"/>
                    </a:cubicBezTo>
                    <a:cubicBezTo>
                      <a:pt x="846" y="342"/>
                      <a:pt x="846" y="273"/>
                      <a:pt x="846" y="273"/>
                    </a:cubicBezTo>
                    <a:cubicBezTo>
                      <a:pt x="838" y="274"/>
                      <a:pt x="831" y="274"/>
                      <a:pt x="824" y="274"/>
                    </a:cubicBezTo>
                    <a:cubicBezTo>
                      <a:pt x="816" y="274"/>
                      <a:pt x="809" y="274"/>
                      <a:pt x="802" y="273"/>
                    </a:cubicBezTo>
                    <a:close/>
                    <a:moveTo>
                      <a:pt x="620" y="664"/>
                    </a:moveTo>
                    <a:cubicBezTo>
                      <a:pt x="623" y="664"/>
                      <a:pt x="626" y="664"/>
                      <a:pt x="630" y="664"/>
                    </a:cubicBezTo>
                    <a:cubicBezTo>
                      <a:pt x="630" y="374"/>
                      <a:pt x="630" y="308"/>
                      <a:pt x="630" y="308"/>
                    </a:cubicBezTo>
                    <a:cubicBezTo>
                      <a:pt x="586" y="334"/>
                      <a:pt x="586" y="334"/>
                      <a:pt x="586" y="334"/>
                    </a:cubicBezTo>
                    <a:cubicBezTo>
                      <a:pt x="586" y="665"/>
                      <a:pt x="586" y="665"/>
                      <a:pt x="586" y="665"/>
                    </a:cubicBezTo>
                    <a:cubicBezTo>
                      <a:pt x="597" y="665"/>
                      <a:pt x="608" y="664"/>
                      <a:pt x="620" y="664"/>
                    </a:cubicBezTo>
                    <a:close/>
                    <a:moveTo>
                      <a:pt x="414" y="704"/>
                    </a:moveTo>
                    <a:cubicBezTo>
                      <a:pt x="414" y="496"/>
                      <a:pt x="414" y="435"/>
                      <a:pt x="414" y="435"/>
                    </a:cubicBezTo>
                    <a:cubicBezTo>
                      <a:pt x="370" y="461"/>
                      <a:pt x="370" y="461"/>
                      <a:pt x="370" y="461"/>
                    </a:cubicBezTo>
                    <a:cubicBezTo>
                      <a:pt x="370" y="724"/>
                      <a:pt x="370" y="724"/>
                      <a:pt x="370" y="724"/>
                    </a:cubicBezTo>
                    <a:cubicBezTo>
                      <a:pt x="384" y="717"/>
                      <a:pt x="399" y="710"/>
                      <a:pt x="414" y="704"/>
                    </a:cubicBezTo>
                    <a:close/>
                    <a:moveTo>
                      <a:pt x="1255" y="258"/>
                    </a:moveTo>
                    <a:cubicBezTo>
                      <a:pt x="1193" y="258"/>
                      <a:pt x="1142" y="310"/>
                      <a:pt x="1142" y="372"/>
                    </a:cubicBezTo>
                    <a:cubicBezTo>
                      <a:pt x="1142" y="435"/>
                      <a:pt x="1193" y="486"/>
                      <a:pt x="1255" y="486"/>
                    </a:cubicBezTo>
                    <a:cubicBezTo>
                      <a:pt x="1318" y="486"/>
                      <a:pt x="1369" y="435"/>
                      <a:pt x="1369" y="372"/>
                    </a:cubicBezTo>
                    <a:cubicBezTo>
                      <a:pt x="1369" y="310"/>
                      <a:pt x="1318" y="258"/>
                      <a:pt x="1255" y="258"/>
                    </a:cubicBezTo>
                    <a:close/>
                    <a:moveTo>
                      <a:pt x="1255" y="442"/>
                    </a:moveTo>
                    <a:cubicBezTo>
                      <a:pt x="1216" y="442"/>
                      <a:pt x="1186" y="411"/>
                      <a:pt x="1186" y="372"/>
                    </a:cubicBezTo>
                    <a:cubicBezTo>
                      <a:pt x="1186" y="334"/>
                      <a:pt x="1216" y="302"/>
                      <a:pt x="1255" y="302"/>
                    </a:cubicBezTo>
                    <a:cubicBezTo>
                      <a:pt x="1294" y="302"/>
                      <a:pt x="1325" y="334"/>
                      <a:pt x="1325" y="372"/>
                    </a:cubicBezTo>
                    <a:cubicBezTo>
                      <a:pt x="1325" y="411"/>
                      <a:pt x="1294" y="442"/>
                      <a:pt x="1255" y="442"/>
                    </a:cubicBezTo>
                    <a:close/>
                    <a:moveTo>
                      <a:pt x="1665" y="351"/>
                    </a:moveTo>
                    <a:cubicBezTo>
                      <a:pt x="1665" y="1728"/>
                      <a:pt x="1665" y="1728"/>
                      <a:pt x="1665" y="1728"/>
                    </a:cubicBezTo>
                    <a:cubicBezTo>
                      <a:pt x="1709" y="1728"/>
                      <a:pt x="1709" y="1728"/>
                      <a:pt x="1709" y="1728"/>
                    </a:cubicBezTo>
                    <a:cubicBezTo>
                      <a:pt x="1709" y="351"/>
                      <a:pt x="1709" y="351"/>
                      <a:pt x="1709" y="351"/>
                    </a:cubicBezTo>
                    <a:cubicBezTo>
                      <a:pt x="1702" y="352"/>
                      <a:pt x="1695" y="352"/>
                      <a:pt x="1687" y="352"/>
                    </a:cubicBezTo>
                    <a:cubicBezTo>
                      <a:pt x="1680" y="352"/>
                      <a:pt x="1673" y="352"/>
                      <a:pt x="1665" y="351"/>
                    </a:cubicBezTo>
                    <a:close/>
                    <a:moveTo>
                      <a:pt x="1233" y="529"/>
                    </a:moveTo>
                    <a:cubicBezTo>
                      <a:pt x="1233" y="1728"/>
                      <a:pt x="1233" y="1728"/>
                      <a:pt x="1233" y="1728"/>
                    </a:cubicBezTo>
                    <a:cubicBezTo>
                      <a:pt x="1277" y="1728"/>
                      <a:pt x="1277" y="1728"/>
                      <a:pt x="1277" y="1728"/>
                    </a:cubicBezTo>
                    <a:cubicBezTo>
                      <a:pt x="1277" y="529"/>
                      <a:pt x="1277" y="529"/>
                      <a:pt x="1277" y="529"/>
                    </a:cubicBezTo>
                    <a:cubicBezTo>
                      <a:pt x="1270" y="530"/>
                      <a:pt x="1262" y="530"/>
                      <a:pt x="1255" y="530"/>
                    </a:cubicBezTo>
                    <a:cubicBezTo>
                      <a:pt x="1247" y="530"/>
                      <a:pt x="1240" y="530"/>
                      <a:pt x="1233" y="529"/>
                    </a:cubicBezTo>
                    <a:close/>
                    <a:moveTo>
                      <a:pt x="1449" y="1728"/>
                    </a:moveTo>
                    <a:cubicBezTo>
                      <a:pt x="1493" y="1728"/>
                      <a:pt x="1493" y="1728"/>
                      <a:pt x="1493" y="1728"/>
                    </a:cubicBezTo>
                    <a:cubicBezTo>
                      <a:pt x="1493" y="338"/>
                      <a:pt x="1493" y="338"/>
                      <a:pt x="1493" y="338"/>
                    </a:cubicBezTo>
                    <a:cubicBezTo>
                      <a:pt x="1449" y="360"/>
                      <a:pt x="1449" y="360"/>
                      <a:pt x="1449" y="360"/>
                    </a:cubicBezTo>
                    <a:cubicBezTo>
                      <a:pt x="1449" y="1728"/>
                      <a:pt x="1449" y="1728"/>
                      <a:pt x="1449" y="1728"/>
                    </a:cubicBezTo>
                    <a:close/>
                    <a:moveTo>
                      <a:pt x="533" y="1627"/>
                    </a:moveTo>
                    <a:cubicBezTo>
                      <a:pt x="561" y="1633"/>
                      <a:pt x="590" y="1636"/>
                      <a:pt x="620" y="1636"/>
                    </a:cubicBezTo>
                    <a:cubicBezTo>
                      <a:pt x="851" y="1636"/>
                      <a:pt x="1040" y="1448"/>
                      <a:pt x="1040" y="1216"/>
                    </a:cubicBezTo>
                    <a:cubicBezTo>
                      <a:pt x="1040" y="985"/>
                      <a:pt x="851" y="796"/>
                      <a:pt x="620" y="796"/>
                    </a:cubicBezTo>
                    <a:cubicBezTo>
                      <a:pt x="388" y="796"/>
                      <a:pt x="200" y="985"/>
                      <a:pt x="200" y="1216"/>
                    </a:cubicBezTo>
                    <a:cubicBezTo>
                      <a:pt x="200" y="1251"/>
                      <a:pt x="204" y="1284"/>
                      <a:pt x="212" y="1317"/>
                    </a:cubicBezTo>
                    <a:cubicBezTo>
                      <a:pt x="226" y="1302"/>
                      <a:pt x="244" y="1293"/>
                      <a:pt x="265" y="1291"/>
                    </a:cubicBezTo>
                    <a:cubicBezTo>
                      <a:pt x="465" y="1273"/>
                      <a:pt x="465" y="1273"/>
                      <a:pt x="465" y="1273"/>
                    </a:cubicBezTo>
                    <a:cubicBezTo>
                      <a:pt x="468" y="1272"/>
                      <a:pt x="471" y="1272"/>
                      <a:pt x="475" y="1272"/>
                    </a:cubicBezTo>
                    <a:cubicBezTo>
                      <a:pt x="475" y="1272"/>
                      <a:pt x="475" y="1272"/>
                      <a:pt x="476" y="1272"/>
                    </a:cubicBezTo>
                    <a:cubicBezTo>
                      <a:pt x="492" y="1271"/>
                      <a:pt x="492" y="1271"/>
                      <a:pt x="492" y="1271"/>
                    </a:cubicBezTo>
                    <a:cubicBezTo>
                      <a:pt x="498" y="1276"/>
                      <a:pt x="498" y="1276"/>
                      <a:pt x="498" y="1276"/>
                    </a:cubicBezTo>
                    <a:cubicBezTo>
                      <a:pt x="506" y="1278"/>
                      <a:pt x="506" y="1278"/>
                      <a:pt x="506" y="1278"/>
                    </a:cubicBezTo>
                    <a:cubicBezTo>
                      <a:pt x="509" y="1280"/>
                      <a:pt x="509" y="1280"/>
                      <a:pt x="509" y="1280"/>
                    </a:cubicBezTo>
                    <a:cubicBezTo>
                      <a:pt x="510" y="1281"/>
                      <a:pt x="516" y="1284"/>
                      <a:pt x="516" y="1284"/>
                    </a:cubicBezTo>
                    <a:cubicBezTo>
                      <a:pt x="518" y="1285"/>
                      <a:pt x="518" y="1285"/>
                      <a:pt x="518" y="1285"/>
                    </a:cubicBezTo>
                    <a:cubicBezTo>
                      <a:pt x="521" y="1287"/>
                      <a:pt x="524" y="1290"/>
                      <a:pt x="526" y="1291"/>
                    </a:cubicBezTo>
                    <a:cubicBezTo>
                      <a:pt x="528" y="1293"/>
                      <a:pt x="531" y="1295"/>
                      <a:pt x="534" y="1298"/>
                    </a:cubicBezTo>
                    <a:cubicBezTo>
                      <a:pt x="535" y="1300"/>
                      <a:pt x="535" y="1300"/>
                      <a:pt x="535" y="1300"/>
                    </a:cubicBezTo>
                    <a:cubicBezTo>
                      <a:pt x="539" y="1304"/>
                      <a:pt x="539" y="1304"/>
                      <a:pt x="539" y="1304"/>
                    </a:cubicBezTo>
                    <a:cubicBezTo>
                      <a:pt x="539" y="1305"/>
                      <a:pt x="539" y="1305"/>
                      <a:pt x="540" y="1306"/>
                    </a:cubicBezTo>
                    <a:cubicBezTo>
                      <a:pt x="543" y="1309"/>
                      <a:pt x="543" y="1309"/>
                      <a:pt x="543" y="1309"/>
                    </a:cubicBezTo>
                    <a:cubicBezTo>
                      <a:pt x="546" y="1316"/>
                      <a:pt x="546" y="1316"/>
                      <a:pt x="546" y="1316"/>
                    </a:cubicBezTo>
                    <a:cubicBezTo>
                      <a:pt x="552" y="1321"/>
                      <a:pt x="552" y="1321"/>
                      <a:pt x="552" y="1321"/>
                    </a:cubicBezTo>
                    <a:cubicBezTo>
                      <a:pt x="554" y="1337"/>
                      <a:pt x="554" y="1337"/>
                      <a:pt x="554" y="1337"/>
                    </a:cubicBezTo>
                    <a:cubicBezTo>
                      <a:pt x="555" y="1341"/>
                      <a:pt x="555" y="1345"/>
                      <a:pt x="555" y="1347"/>
                    </a:cubicBezTo>
                    <a:cubicBezTo>
                      <a:pt x="557" y="1365"/>
                      <a:pt x="557" y="1365"/>
                      <a:pt x="557" y="1365"/>
                    </a:cubicBezTo>
                    <a:cubicBezTo>
                      <a:pt x="573" y="1371"/>
                      <a:pt x="589" y="1374"/>
                      <a:pt x="606" y="1374"/>
                    </a:cubicBezTo>
                    <a:cubicBezTo>
                      <a:pt x="653" y="1374"/>
                      <a:pt x="677" y="1357"/>
                      <a:pt x="677" y="1325"/>
                    </a:cubicBezTo>
                    <a:cubicBezTo>
                      <a:pt x="677" y="1308"/>
                      <a:pt x="671" y="1293"/>
                      <a:pt x="659" y="1278"/>
                    </a:cubicBezTo>
                    <a:cubicBezTo>
                      <a:pt x="647" y="1264"/>
                      <a:pt x="623" y="1247"/>
                      <a:pt x="590" y="1231"/>
                    </a:cubicBezTo>
                    <a:cubicBezTo>
                      <a:pt x="555" y="1214"/>
                      <a:pt x="533" y="1200"/>
                      <a:pt x="521" y="1189"/>
                    </a:cubicBezTo>
                    <a:cubicBezTo>
                      <a:pt x="508" y="1177"/>
                      <a:pt x="498" y="1164"/>
                      <a:pt x="492" y="1148"/>
                    </a:cubicBezTo>
                    <a:cubicBezTo>
                      <a:pt x="485" y="1133"/>
                      <a:pt x="483" y="1115"/>
                      <a:pt x="483" y="1096"/>
                    </a:cubicBezTo>
                    <a:cubicBezTo>
                      <a:pt x="483" y="1067"/>
                      <a:pt x="491" y="1043"/>
                      <a:pt x="509" y="1021"/>
                    </a:cubicBezTo>
                    <a:cubicBezTo>
                      <a:pt x="527" y="999"/>
                      <a:pt x="551" y="985"/>
                      <a:pt x="580" y="978"/>
                    </a:cubicBezTo>
                    <a:cubicBezTo>
                      <a:pt x="580" y="922"/>
                      <a:pt x="580" y="922"/>
                      <a:pt x="580" y="922"/>
                    </a:cubicBezTo>
                    <a:cubicBezTo>
                      <a:pt x="652" y="922"/>
                      <a:pt x="652" y="922"/>
                      <a:pt x="652" y="922"/>
                    </a:cubicBezTo>
                    <a:cubicBezTo>
                      <a:pt x="652" y="974"/>
                      <a:pt x="652" y="974"/>
                      <a:pt x="652" y="974"/>
                    </a:cubicBezTo>
                    <a:cubicBezTo>
                      <a:pt x="690" y="979"/>
                      <a:pt x="719" y="987"/>
                      <a:pt x="737" y="1003"/>
                    </a:cubicBezTo>
                    <a:cubicBezTo>
                      <a:pt x="713" y="1073"/>
                      <a:pt x="713" y="1073"/>
                      <a:pt x="713" y="1073"/>
                    </a:cubicBezTo>
                    <a:cubicBezTo>
                      <a:pt x="684" y="1052"/>
                      <a:pt x="654" y="1042"/>
                      <a:pt x="622" y="1042"/>
                    </a:cubicBezTo>
                    <a:cubicBezTo>
                      <a:pt x="603" y="1042"/>
                      <a:pt x="589" y="1047"/>
                      <a:pt x="579" y="1058"/>
                    </a:cubicBezTo>
                    <a:cubicBezTo>
                      <a:pt x="569" y="1067"/>
                      <a:pt x="564" y="1080"/>
                      <a:pt x="564" y="1096"/>
                    </a:cubicBezTo>
                    <a:cubicBezTo>
                      <a:pt x="564" y="1122"/>
                      <a:pt x="592" y="1148"/>
                      <a:pt x="651" y="1177"/>
                    </a:cubicBezTo>
                    <a:cubicBezTo>
                      <a:pt x="681" y="1192"/>
                      <a:pt x="703" y="1206"/>
                      <a:pt x="716" y="1219"/>
                    </a:cubicBezTo>
                    <a:cubicBezTo>
                      <a:pt x="730" y="1231"/>
                      <a:pt x="740" y="1246"/>
                      <a:pt x="747" y="1263"/>
                    </a:cubicBezTo>
                    <a:cubicBezTo>
                      <a:pt x="755" y="1280"/>
                      <a:pt x="758" y="1297"/>
                      <a:pt x="758" y="1319"/>
                    </a:cubicBezTo>
                    <a:cubicBezTo>
                      <a:pt x="758" y="1348"/>
                      <a:pt x="749" y="1373"/>
                      <a:pt x="730" y="1395"/>
                    </a:cubicBezTo>
                    <a:cubicBezTo>
                      <a:pt x="712" y="1417"/>
                      <a:pt x="685" y="1431"/>
                      <a:pt x="652" y="1439"/>
                    </a:cubicBezTo>
                    <a:cubicBezTo>
                      <a:pt x="652" y="1511"/>
                      <a:pt x="652" y="1511"/>
                      <a:pt x="652" y="1511"/>
                    </a:cubicBezTo>
                    <a:cubicBezTo>
                      <a:pt x="580" y="1511"/>
                      <a:pt x="580" y="1511"/>
                      <a:pt x="580" y="1511"/>
                    </a:cubicBezTo>
                    <a:cubicBezTo>
                      <a:pt x="580" y="1445"/>
                      <a:pt x="580" y="1445"/>
                      <a:pt x="580" y="1445"/>
                    </a:cubicBezTo>
                    <a:cubicBezTo>
                      <a:pt x="575" y="1445"/>
                      <a:pt x="569" y="1444"/>
                      <a:pt x="564" y="1444"/>
                    </a:cubicBezTo>
                    <a:cubicBezTo>
                      <a:pt x="574" y="1548"/>
                      <a:pt x="574" y="1548"/>
                      <a:pt x="574" y="1548"/>
                    </a:cubicBezTo>
                    <a:cubicBezTo>
                      <a:pt x="576" y="1570"/>
                      <a:pt x="569" y="1592"/>
                      <a:pt x="555" y="1609"/>
                    </a:cubicBezTo>
                    <a:cubicBezTo>
                      <a:pt x="549" y="1616"/>
                      <a:pt x="541" y="1622"/>
                      <a:pt x="533" y="1627"/>
                    </a:cubicBezTo>
                    <a:close/>
                    <a:moveTo>
                      <a:pt x="1687" y="0"/>
                    </a:moveTo>
                    <a:cubicBezTo>
                      <a:pt x="1602" y="0"/>
                      <a:pt x="1533" y="69"/>
                      <a:pt x="1533" y="154"/>
                    </a:cubicBezTo>
                    <a:cubicBezTo>
                      <a:pt x="1533" y="239"/>
                      <a:pt x="1602" y="308"/>
                      <a:pt x="1687" y="308"/>
                    </a:cubicBezTo>
                    <a:cubicBezTo>
                      <a:pt x="1771" y="308"/>
                      <a:pt x="1840" y="239"/>
                      <a:pt x="1840" y="154"/>
                    </a:cubicBezTo>
                    <a:cubicBezTo>
                      <a:pt x="1840" y="69"/>
                      <a:pt x="1771" y="0"/>
                      <a:pt x="1687" y="0"/>
                    </a:cubicBezTo>
                    <a:close/>
                    <a:moveTo>
                      <a:pt x="1687" y="264"/>
                    </a:moveTo>
                    <a:cubicBezTo>
                      <a:pt x="1627" y="264"/>
                      <a:pt x="1577" y="215"/>
                      <a:pt x="1577" y="154"/>
                    </a:cubicBezTo>
                    <a:cubicBezTo>
                      <a:pt x="1577" y="93"/>
                      <a:pt x="1627" y="44"/>
                      <a:pt x="1687" y="44"/>
                    </a:cubicBezTo>
                    <a:cubicBezTo>
                      <a:pt x="1747" y="44"/>
                      <a:pt x="1796" y="93"/>
                      <a:pt x="1796" y="154"/>
                    </a:cubicBezTo>
                    <a:cubicBezTo>
                      <a:pt x="1796" y="215"/>
                      <a:pt x="1747" y="264"/>
                      <a:pt x="1687" y="264"/>
                    </a:cubicBezTo>
                    <a:close/>
                    <a:moveTo>
                      <a:pt x="399" y="1573"/>
                    </a:moveTo>
                    <a:cubicBezTo>
                      <a:pt x="404" y="1576"/>
                      <a:pt x="408" y="1579"/>
                      <a:pt x="413" y="1581"/>
                    </a:cubicBezTo>
                    <a:cubicBezTo>
                      <a:pt x="411" y="1575"/>
                      <a:pt x="409" y="1569"/>
                      <a:pt x="409" y="1563"/>
                    </a:cubicBezTo>
                    <a:cubicBezTo>
                      <a:pt x="409" y="1562"/>
                      <a:pt x="409" y="1562"/>
                      <a:pt x="409" y="1562"/>
                    </a:cubicBezTo>
                    <a:lnTo>
                      <a:pt x="399" y="1573"/>
                    </a:lnTo>
                    <a:close/>
                    <a:moveTo>
                      <a:pt x="1018" y="1728"/>
                    </a:moveTo>
                    <a:cubicBezTo>
                      <a:pt x="1062" y="1728"/>
                      <a:pt x="1062" y="1728"/>
                      <a:pt x="1062" y="1728"/>
                    </a:cubicBezTo>
                    <a:cubicBezTo>
                      <a:pt x="1062" y="1547"/>
                      <a:pt x="1062" y="1547"/>
                      <a:pt x="1062" y="1547"/>
                    </a:cubicBezTo>
                    <a:cubicBezTo>
                      <a:pt x="1048" y="1565"/>
                      <a:pt x="1033" y="1582"/>
                      <a:pt x="1018" y="1598"/>
                    </a:cubicBezTo>
                    <a:cubicBezTo>
                      <a:pt x="1018" y="1687"/>
                      <a:pt x="1018" y="1728"/>
                      <a:pt x="1018" y="1728"/>
                    </a:cubicBezTo>
                    <a:close/>
                    <a:moveTo>
                      <a:pt x="1128" y="282"/>
                    </a:moveTo>
                    <a:cubicBezTo>
                      <a:pt x="1128" y="282"/>
                      <a:pt x="1128" y="282"/>
                      <a:pt x="966" y="187"/>
                    </a:cubicBezTo>
                    <a:cubicBezTo>
                      <a:pt x="959" y="200"/>
                      <a:pt x="951" y="212"/>
                      <a:pt x="941" y="223"/>
                    </a:cubicBezTo>
                    <a:cubicBezTo>
                      <a:pt x="941" y="223"/>
                      <a:pt x="941" y="223"/>
                      <a:pt x="1108" y="321"/>
                    </a:cubicBezTo>
                    <a:cubicBezTo>
                      <a:pt x="1113" y="307"/>
                      <a:pt x="1119" y="293"/>
                      <a:pt x="1128" y="282"/>
                    </a:cubicBezTo>
                    <a:close/>
                    <a:moveTo>
                      <a:pt x="701" y="215"/>
                    </a:moveTo>
                    <a:cubicBezTo>
                      <a:pt x="692" y="204"/>
                      <a:pt x="685" y="191"/>
                      <a:pt x="679" y="177"/>
                    </a:cubicBezTo>
                    <a:cubicBezTo>
                      <a:pt x="679" y="177"/>
                      <a:pt x="679" y="177"/>
                      <a:pt x="319" y="389"/>
                    </a:cubicBezTo>
                    <a:cubicBezTo>
                      <a:pt x="327" y="402"/>
                      <a:pt x="333" y="415"/>
                      <a:pt x="339" y="429"/>
                    </a:cubicBezTo>
                    <a:cubicBezTo>
                      <a:pt x="339" y="429"/>
                      <a:pt x="339" y="429"/>
                      <a:pt x="701" y="215"/>
                    </a:cubicBezTo>
                    <a:close/>
                    <a:moveTo>
                      <a:pt x="1393" y="291"/>
                    </a:moveTo>
                    <a:cubicBezTo>
                      <a:pt x="1400" y="304"/>
                      <a:pt x="1406" y="318"/>
                      <a:pt x="1410" y="332"/>
                    </a:cubicBezTo>
                    <a:cubicBezTo>
                      <a:pt x="1410" y="332"/>
                      <a:pt x="1410" y="332"/>
                      <a:pt x="1529" y="271"/>
                    </a:cubicBezTo>
                    <a:cubicBezTo>
                      <a:pt x="1521" y="259"/>
                      <a:pt x="1513" y="246"/>
                      <a:pt x="1508" y="232"/>
                    </a:cubicBezTo>
                    <a:cubicBezTo>
                      <a:pt x="1508" y="232"/>
                      <a:pt x="1508" y="232"/>
                      <a:pt x="1393" y="291"/>
                    </a:cubicBezTo>
                    <a:close/>
                    <a:moveTo>
                      <a:pt x="453" y="1559"/>
                    </a:moveTo>
                    <a:cubicBezTo>
                      <a:pt x="454" y="1569"/>
                      <a:pt x="458" y="1579"/>
                      <a:pt x="466" y="1585"/>
                    </a:cubicBezTo>
                    <a:cubicBezTo>
                      <a:pt x="474" y="1592"/>
                      <a:pt x="484" y="1595"/>
                      <a:pt x="495" y="1594"/>
                    </a:cubicBezTo>
                    <a:cubicBezTo>
                      <a:pt x="505" y="1593"/>
                      <a:pt x="514" y="1588"/>
                      <a:pt x="521" y="1580"/>
                    </a:cubicBezTo>
                    <a:cubicBezTo>
                      <a:pt x="528" y="1572"/>
                      <a:pt x="531" y="1562"/>
                      <a:pt x="530" y="1552"/>
                    </a:cubicBezTo>
                    <a:cubicBezTo>
                      <a:pt x="530" y="1552"/>
                      <a:pt x="530" y="1552"/>
                      <a:pt x="511" y="1351"/>
                    </a:cubicBezTo>
                    <a:cubicBezTo>
                      <a:pt x="511" y="1349"/>
                      <a:pt x="511" y="1346"/>
                      <a:pt x="510" y="1344"/>
                    </a:cubicBezTo>
                    <a:cubicBezTo>
                      <a:pt x="510" y="1344"/>
                      <a:pt x="510" y="1344"/>
                      <a:pt x="510" y="1343"/>
                    </a:cubicBezTo>
                    <a:cubicBezTo>
                      <a:pt x="510" y="1343"/>
                      <a:pt x="510" y="1343"/>
                      <a:pt x="510" y="1343"/>
                    </a:cubicBezTo>
                    <a:cubicBezTo>
                      <a:pt x="509" y="1341"/>
                      <a:pt x="509" y="1339"/>
                      <a:pt x="508" y="1337"/>
                    </a:cubicBezTo>
                    <a:cubicBezTo>
                      <a:pt x="508" y="1337"/>
                      <a:pt x="508" y="1337"/>
                      <a:pt x="507" y="1336"/>
                    </a:cubicBezTo>
                    <a:cubicBezTo>
                      <a:pt x="507" y="1336"/>
                      <a:pt x="507" y="1336"/>
                      <a:pt x="507" y="1336"/>
                    </a:cubicBezTo>
                    <a:cubicBezTo>
                      <a:pt x="506" y="1334"/>
                      <a:pt x="505" y="1332"/>
                      <a:pt x="503" y="1330"/>
                    </a:cubicBezTo>
                    <a:cubicBezTo>
                      <a:pt x="503" y="1330"/>
                      <a:pt x="503" y="1330"/>
                      <a:pt x="503" y="1330"/>
                    </a:cubicBezTo>
                    <a:cubicBezTo>
                      <a:pt x="501" y="1328"/>
                      <a:pt x="500" y="1327"/>
                      <a:pt x="498" y="1325"/>
                    </a:cubicBezTo>
                    <a:cubicBezTo>
                      <a:pt x="496" y="1324"/>
                      <a:pt x="495" y="1322"/>
                      <a:pt x="492" y="1321"/>
                    </a:cubicBezTo>
                    <a:cubicBezTo>
                      <a:pt x="492" y="1321"/>
                      <a:pt x="492" y="1321"/>
                      <a:pt x="492" y="1321"/>
                    </a:cubicBezTo>
                    <a:cubicBezTo>
                      <a:pt x="490" y="1320"/>
                      <a:pt x="488" y="1319"/>
                      <a:pt x="486" y="1318"/>
                    </a:cubicBezTo>
                    <a:cubicBezTo>
                      <a:pt x="486" y="1318"/>
                      <a:pt x="486" y="1318"/>
                      <a:pt x="486" y="1318"/>
                    </a:cubicBezTo>
                    <a:cubicBezTo>
                      <a:pt x="486" y="1318"/>
                      <a:pt x="486" y="1318"/>
                      <a:pt x="484" y="1318"/>
                    </a:cubicBezTo>
                    <a:cubicBezTo>
                      <a:pt x="482" y="1317"/>
                      <a:pt x="480" y="1317"/>
                      <a:pt x="478" y="1317"/>
                    </a:cubicBezTo>
                    <a:cubicBezTo>
                      <a:pt x="478" y="1317"/>
                      <a:pt x="478" y="1317"/>
                      <a:pt x="478" y="1316"/>
                    </a:cubicBezTo>
                    <a:cubicBezTo>
                      <a:pt x="478" y="1316"/>
                      <a:pt x="478" y="1316"/>
                      <a:pt x="477" y="1316"/>
                    </a:cubicBezTo>
                    <a:cubicBezTo>
                      <a:pt x="475" y="1316"/>
                      <a:pt x="472" y="1316"/>
                      <a:pt x="469" y="1316"/>
                    </a:cubicBezTo>
                    <a:cubicBezTo>
                      <a:pt x="469" y="1316"/>
                      <a:pt x="469" y="1316"/>
                      <a:pt x="269" y="1335"/>
                    </a:cubicBezTo>
                    <a:cubicBezTo>
                      <a:pt x="259" y="1336"/>
                      <a:pt x="249" y="1340"/>
                      <a:pt x="243" y="1348"/>
                    </a:cubicBezTo>
                    <a:cubicBezTo>
                      <a:pt x="236" y="1356"/>
                      <a:pt x="233" y="1367"/>
                      <a:pt x="234" y="1377"/>
                    </a:cubicBezTo>
                    <a:cubicBezTo>
                      <a:pt x="235" y="1387"/>
                      <a:pt x="240" y="1397"/>
                      <a:pt x="248" y="1403"/>
                    </a:cubicBezTo>
                    <a:cubicBezTo>
                      <a:pt x="256" y="1410"/>
                      <a:pt x="266" y="1413"/>
                      <a:pt x="276" y="1412"/>
                    </a:cubicBezTo>
                    <a:cubicBezTo>
                      <a:pt x="276" y="1412"/>
                      <a:pt x="276" y="1412"/>
                      <a:pt x="383" y="1402"/>
                    </a:cubicBezTo>
                    <a:cubicBezTo>
                      <a:pt x="383" y="1402"/>
                      <a:pt x="383" y="1402"/>
                      <a:pt x="150" y="1682"/>
                    </a:cubicBezTo>
                    <a:cubicBezTo>
                      <a:pt x="137" y="1698"/>
                      <a:pt x="139" y="1723"/>
                      <a:pt x="155" y="1736"/>
                    </a:cubicBezTo>
                    <a:cubicBezTo>
                      <a:pt x="172" y="1750"/>
                      <a:pt x="196" y="1748"/>
                      <a:pt x="210" y="1731"/>
                    </a:cubicBezTo>
                    <a:cubicBezTo>
                      <a:pt x="210" y="1731"/>
                      <a:pt x="210" y="1731"/>
                      <a:pt x="443" y="1451"/>
                    </a:cubicBezTo>
                    <a:cubicBezTo>
                      <a:pt x="443" y="1451"/>
                      <a:pt x="443" y="1451"/>
                      <a:pt x="453" y="1559"/>
                    </a:cubicBezTo>
                    <a:close/>
                    <a:moveTo>
                      <a:pt x="620" y="708"/>
                    </a:moveTo>
                    <a:cubicBezTo>
                      <a:pt x="340" y="708"/>
                      <a:pt x="112" y="936"/>
                      <a:pt x="112" y="1216"/>
                    </a:cubicBezTo>
                    <a:cubicBezTo>
                      <a:pt x="112" y="1334"/>
                      <a:pt x="152" y="1443"/>
                      <a:pt x="220" y="1529"/>
                    </a:cubicBezTo>
                    <a:cubicBezTo>
                      <a:pt x="249" y="1495"/>
                      <a:pt x="249" y="1495"/>
                      <a:pt x="249" y="1495"/>
                    </a:cubicBezTo>
                    <a:cubicBezTo>
                      <a:pt x="230" y="1469"/>
                      <a:pt x="213" y="1442"/>
                      <a:pt x="200" y="1413"/>
                    </a:cubicBezTo>
                    <a:cubicBezTo>
                      <a:pt x="198" y="1410"/>
                      <a:pt x="197" y="1407"/>
                      <a:pt x="195" y="1404"/>
                    </a:cubicBezTo>
                    <a:cubicBezTo>
                      <a:pt x="170" y="1346"/>
                      <a:pt x="156" y="1283"/>
                      <a:pt x="156" y="1216"/>
                    </a:cubicBezTo>
                    <a:cubicBezTo>
                      <a:pt x="156" y="960"/>
                      <a:pt x="364" y="752"/>
                      <a:pt x="620" y="752"/>
                    </a:cubicBezTo>
                    <a:cubicBezTo>
                      <a:pt x="876" y="752"/>
                      <a:pt x="1084" y="960"/>
                      <a:pt x="1084" y="1216"/>
                    </a:cubicBezTo>
                    <a:cubicBezTo>
                      <a:pt x="1084" y="1472"/>
                      <a:pt x="876" y="1680"/>
                      <a:pt x="620" y="1680"/>
                    </a:cubicBezTo>
                    <a:cubicBezTo>
                      <a:pt x="528" y="1680"/>
                      <a:pt x="443" y="1653"/>
                      <a:pt x="371" y="1607"/>
                    </a:cubicBezTo>
                    <a:cubicBezTo>
                      <a:pt x="342" y="1641"/>
                      <a:pt x="342" y="1641"/>
                      <a:pt x="342" y="1641"/>
                    </a:cubicBezTo>
                    <a:cubicBezTo>
                      <a:pt x="422" y="1694"/>
                      <a:pt x="517" y="1724"/>
                      <a:pt x="620" y="1724"/>
                    </a:cubicBezTo>
                    <a:cubicBezTo>
                      <a:pt x="900" y="1724"/>
                      <a:pt x="1128" y="1496"/>
                      <a:pt x="1128" y="1216"/>
                    </a:cubicBezTo>
                    <a:cubicBezTo>
                      <a:pt x="1128" y="936"/>
                      <a:pt x="900" y="708"/>
                      <a:pt x="620" y="70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200" b="0" i="0" u="none" strike="noStrike" kern="120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grpSp>
        <p:sp>
          <p:nvSpPr>
            <p:cNvPr id="11" name="Rectangle 10">
              <a:extLst>
                <a:ext uri="{FF2B5EF4-FFF2-40B4-BE49-F238E27FC236}">
                  <a16:creationId xmlns:a16="http://schemas.microsoft.com/office/drawing/2014/main" id="{9D6CEB42-0036-E4CA-2D2E-F7AC65C1F3E4}"/>
                </a:ext>
              </a:extLst>
            </p:cNvPr>
            <p:cNvSpPr>
              <a:spLocks/>
            </p:cNvSpPr>
            <p:nvPr/>
          </p:nvSpPr>
          <p:spPr>
            <a:xfrm flipH="1">
              <a:off x="6857999" y="2092935"/>
              <a:ext cx="5334001" cy="620677"/>
            </a:xfrm>
            <a:prstGeom prst="rect">
              <a:avLst/>
            </a:prstGeom>
            <a:gradFill flip="none" rotWithShape="1">
              <a:gsLst>
                <a:gs pos="0">
                  <a:srgbClr val="7F6000">
                    <a:tint val="66000"/>
                    <a:satMod val="160000"/>
                    <a:alpha val="14000"/>
                  </a:srgbClr>
                </a:gs>
                <a:gs pos="50000">
                  <a:srgbClr val="7F6000">
                    <a:tint val="44500"/>
                    <a:satMod val="160000"/>
                  </a:srgbClr>
                </a:gs>
                <a:gs pos="100000">
                  <a:srgbClr val="7F6000">
                    <a:tint val="23500"/>
                    <a:satMod val="160000"/>
                  </a:srgbClr>
                </a:gs>
              </a:gsLst>
              <a:lin ang="0" scaled="1"/>
              <a:tileRect/>
            </a:gradFill>
            <a:ln w="12700" cap="flat" cmpd="sng" algn="ctr">
              <a:noFill/>
              <a:prstDash val="solid"/>
              <a:miter lim="800000"/>
            </a:ln>
            <a:effectLst/>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endParaRPr lang="ar" sz="2200">
                <a:solidFill>
                  <a:srgbClr val="FFFFFF"/>
                </a:solidFill>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12" name="Rectangle 11">
              <a:extLst>
                <a:ext uri="{FF2B5EF4-FFF2-40B4-BE49-F238E27FC236}">
                  <a16:creationId xmlns:a16="http://schemas.microsoft.com/office/drawing/2014/main" id="{DE5445C3-5FA4-6E33-EEC4-41A0F4EEF78C}"/>
                </a:ext>
              </a:extLst>
            </p:cNvPr>
            <p:cNvSpPr>
              <a:spLocks/>
            </p:cNvSpPr>
            <p:nvPr/>
          </p:nvSpPr>
          <p:spPr>
            <a:xfrm flipH="1">
              <a:off x="6857999" y="2807856"/>
              <a:ext cx="5334001" cy="620677"/>
            </a:xfrm>
            <a:prstGeom prst="rect">
              <a:avLst/>
            </a:prstGeom>
            <a:gradFill flip="none" rotWithShape="1">
              <a:gsLst>
                <a:gs pos="0">
                  <a:srgbClr val="7F6000">
                    <a:tint val="66000"/>
                    <a:satMod val="160000"/>
                    <a:alpha val="14000"/>
                  </a:srgbClr>
                </a:gs>
                <a:gs pos="50000">
                  <a:srgbClr val="7F6000">
                    <a:tint val="44500"/>
                    <a:satMod val="160000"/>
                  </a:srgbClr>
                </a:gs>
                <a:gs pos="100000">
                  <a:srgbClr val="7F6000">
                    <a:tint val="23500"/>
                    <a:satMod val="160000"/>
                  </a:srgbClr>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endParaRPr lang="ar" sz="2200" dirty="0">
                <a:solidFill>
                  <a:srgbClr val="FFFFFF"/>
                </a:solidFill>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15" name="Rectangle 14">
              <a:extLst>
                <a:ext uri="{FF2B5EF4-FFF2-40B4-BE49-F238E27FC236}">
                  <a16:creationId xmlns:a16="http://schemas.microsoft.com/office/drawing/2014/main" id="{0120DACE-D132-2B85-BA20-DBB51354A64F}"/>
                </a:ext>
              </a:extLst>
            </p:cNvPr>
            <p:cNvSpPr>
              <a:spLocks/>
            </p:cNvSpPr>
            <p:nvPr/>
          </p:nvSpPr>
          <p:spPr>
            <a:xfrm flipH="1">
              <a:off x="6857999" y="3562157"/>
              <a:ext cx="5334001" cy="620677"/>
            </a:xfrm>
            <a:prstGeom prst="rect">
              <a:avLst/>
            </a:prstGeom>
            <a:gradFill flip="none" rotWithShape="1">
              <a:gsLst>
                <a:gs pos="0">
                  <a:srgbClr val="7F6000">
                    <a:tint val="66000"/>
                    <a:satMod val="160000"/>
                    <a:alpha val="14000"/>
                  </a:srgbClr>
                </a:gs>
                <a:gs pos="50000">
                  <a:srgbClr val="7F6000">
                    <a:tint val="44500"/>
                    <a:satMod val="160000"/>
                  </a:srgbClr>
                </a:gs>
                <a:gs pos="100000">
                  <a:srgbClr val="7F6000">
                    <a:tint val="23500"/>
                    <a:satMod val="160000"/>
                  </a:srgbClr>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endParaRPr lang="ar" sz="2200">
                <a:solidFill>
                  <a:srgbClr val="FFFFFF"/>
                </a:solidFill>
                <a:latin typeface="Sakkal Majalla" panose="02000000000000000000" pitchFamily="2" charset="-78"/>
                <a:cs typeface="Sakkal Majalla" panose="02000000000000000000" pitchFamily="2" charset="-78"/>
                <a:sym typeface="Sakkal Majalla" panose="02000000000000000000" pitchFamily="2" charset="-78"/>
              </a:endParaRPr>
            </a:p>
          </p:txBody>
        </p:sp>
        <p:sp>
          <p:nvSpPr>
            <p:cNvPr id="18" name="Rectangle 17">
              <a:extLst>
                <a:ext uri="{FF2B5EF4-FFF2-40B4-BE49-F238E27FC236}">
                  <a16:creationId xmlns:a16="http://schemas.microsoft.com/office/drawing/2014/main" id="{B803311D-4E54-8C7C-9CFB-FFCCF2476B31}"/>
                </a:ext>
              </a:extLst>
            </p:cNvPr>
            <p:cNvSpPr>
              <a:spLocks/>
            </p:cNvSpPr>
            <p:nvPr/>
          </p:nvSpPr>
          <p:spPr>
            <a:xfrm flipH="1">
              <a:off x="6843103" y="5053892"/>
              <a:ext cx="5334001" cy="620677"/>
            </a:xfrm>
            <a:prstGeom prst="rect">
              <a:avLst/>
            </a:prstGeom>
            <a:gradFill flip="none" rotWithShape="1">
              <a:gsLst>
                <a:gs pos="0">
                  <a:srgbClr val="7F6000">
                    <a:tint val="66000"/>
                    <a:satMod val="160000"/>
                    <a:alpha val="14000"/>
                  </a:srgbClr>
                </a:gs>
                <a:gs pos="50000">
                  <a:srgbClr val="7F6000">
                    <a:tint val="44500"/>
                    <a:satMod val="160000"/>
                  </a:srgbClr>
                </a:gs>
                <a:gs pos="100000">
                  <a:srgbClr val="7F6000">
                    <a:tint val="23500"/>
                    <a:satMod val="160000"/>
                  </a:srgbClr>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endParaRPr lang="ar" sz="2200">
                <a:solidFill>
                  <a:srgbClr val="FFFFFF"/>
                </a:solidFill>
                <a:latin typeface="Sakkal Majalla" panose="02000000000000000000" pitchFamily="2" charset="-78"/>
                <a:cs typeface="Sakkal Majalla" panose="02000000000000000000" pitchFamily="2" charset="-78"/>
                <a:sym typeface="Sakkal Majalla" panose="02000000000000000000" pitchFamily="2" charset="-78"/>
              </a:endParaRPr>
            </a:p>
          </p:txBody>
        </p:sp>
        <p:grpSp>
          <p:nvGrpSpPr>
            <p:cNvPr id="21" name="Group 20">
              <a:extLst>
                <a:ext uri="{FF2B5EF4-FFF2-40B4-BE49-F238E27FC236}">
                  <a16:creationId xmlns:a16="http://schemas.microsoft.com/office/drawing/2014/main" id="{2CC1A06D-5302-1038-3B74-86C225B0F488}"/>
                </a:ext>
              </a:extLst>
            </p:cNvPr>
            <p:cNvGrpSpPr>
              <a:grpSpLocks noChangeAspect="1"/>
            </p:cNvGrpSpPr>
            <p:nvPr/>
          </p:nvGrpSpPr>
          <p:grpSpPr>
            <a:xfrm flipH="1">
              <a:off x="11264990" y="4338799"/>
              <a:ext cx="569988" cy="569988"/>
              <a:chOff x="5273675" y="2606675"/>
              <a:chExt cx="1644650" cy="1644650"/>
            </a:xfrm>
          </p:grpSpPr>
          <p:sp>
            <p:nvSpPr>
              <p:cNvPr id="34" name="AutoShape 3">
                <a:extLst>
                  <a:ext uri="{FF2B5EF4-FFF2-40B4-BE49-F238E27FC236}">
                    <a16:creationId xmlns:a16="http://schemas.microsoft.com/office/drawing/2014/main" id="{F10A0DA4-B97B-47DF-127E-2EA7D53779D0}"/>
                  </a:ext>
                </a:extLst>
              </p:cNvPr>
              <p:cNvSpPr>
                <a:spLocks noChangeAspect="1" noChangeArrowheads="1" noTextEdit="1"/>
              </p:cNvSpPr>
              <p:nvPr/>
            </p:nvSpPr>
            <p:spPr bwMode="auto">
              <a:xfrm flipH="1">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1800" b="0" i="0" u="none" strike="noStrike" kern="120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5" name="Freeform 16">
                <a:extLst>
                  <a:ext uri="{FF2B5EF4-FFF2-40B4-BE49-F238E27FC236}">
                    <a16:creationId xmlns:a16="http://schemas.microsoft.com/office/drawing/2014/main" id="{19850417-E339-4D65-07F4-A15A0680B612}"/>
                  </a:ext>
                </a:extLst>
              </p:cNvPr>
              <p:cNvSpPr>
                <a:spLocks/>
              </p:cNvSpPr>
              <p:nvPr/>
            </p:nvSpPr>
            <p:spPr bwMode="auto">
              <a:xfrm flipH="1">
                <a:off x="5491162" y="2957512"/>
                <a:ext cx="1211263" cy="922338"/>
              </a:xfrm>
              <a:custGeom>
                <a:avLst/>
                <a:gdLst>
                  <a:gd name="connsiteX0" fmla="*/ 593617 w 1211263"/>
                  <a:gd name="connsiteY0" fmla="*/ 682625 h 922338"/>
                  <a:gd name="connsiteX1" fmla="*/ 616581 w 1211263"/>
                  <a:gd name="connsiteY1" fmla="*/ 687617 h 922338"/>
                  <a:gd name="connsiteX2" fmla="*/ 640263 w 1211263"/>
                  <a:gd name="connsiteY2" fmla="*/ 756791 h 922338"/>
                  <a:gd name="connsiteX3" fmla="*/ 600076 w 1211263"/>
                  <a:gd name="connsiteY3" fmla="*/ 836663 h 922338"/>
                  <a:gd name="connsiteX4" fmla="*/ 553429 w 1211263"/>
                  <a:gd name="connsiteY4" fmla="*/ 865188 h 922338"/>
                  <a:gd name="connsiteX5" fmla="*/ 531182 w 1211263"/>
                  <a:gd name="connsiteY5" fmla="*/ 859483 h 922338"/>
                  <a:gd name="connsiteX6" fmla="*/ 507500 w 1211263"/>
                  <a:gd name="connsiteY6" fmla="*/ 791022 h 922338"/>
                  <a:gd name="connsiteX7" fmla="*/ 547687 w 1211263"/>
                  <a:gd name="connsiteY7" fmla="*/ 711151 h 922338"/>
                  <a:gd name="connsiteX8" fmla="*/ 593617 w 1211263"/>
                  <a:gd name="connsiteY8" fmla="*/ 682625 h 922338"/>
                  <a:gd name="connsiteX9" fmla="*/ 500859 w 1211263"/>
                  <a:gd name="connsiteY9" fmla="*/ 584200 h 922338"/>
                  <a:gd name="connsiteX10" fmla="*/ 523034 w 1211263"/>
                  <a:gd name="connsiteY10" fmla="*/ 589888 h 922338"/>
                  <a:gd name="connsiteX11" fmla="*/ 546639 w 1211263"/>
                  <a:gd name="connsiteY11" fmla="*/ 658141 h 922338"/>
                  <a:gd name="connsiteX12" fmla="*/ 481546 w 1211263"/>
                  <a:gd name="connsiteY12" fmla="*/ 787536 h 922338"/>
                  <a:gd name="connsiteX13" fmla="*/ 435765 w 1211263"/>
                  <a:gd name="connsiteY13" fmla="*/ 815975 h 922338"/>
                  <a:gd name="connsiteX14" fmla="*/ 412875 w 1211263"/>
                  <a:gd name="connsiteY14" fmla="*/ 810287 h 922338"/>
                  <a:gd name="connsiteX15" fmla="*/ 389985 w 1211263"/>
                  <a:gd name="connsiteY15" fmla="*/ 742035 h 922338"/>
                  <a:gd name="connsiteX16" fmla="*/ 454364 w 1211263"/>
                  <a:gd name="connsiteY16" fmla="*/ 612639 h 922338"/>
                  <a:gd name="connsiteX17" fmla="*/ 500859 w 1211263"/>
                  <a:gd name="connsiteY17" fmla="*/ 584200 h 922338"/>
                  <a:gd name="connsiteX18" fmla="*/ 383787 w 1211263"/>
                  <a:gd name="connsiteY18" fmla="*/ 531812 h 922338"/>
                  <a:gd name="connsiteX19" fmla="*/ 406083 w 1211263"/>
                  <a:gd name="connsiteY19" fmla="*/ 537529 h 922338"/>
                  <a:gd name="connsiteX20" fmla="*/ 429099 w 1211263"/>
                  <a:gd name="connsiteY20" fmla="*/ 606134 h 922338"/>
                  <a:gd name="connsiteX21" fmla="*/ 370121 w 1211263"/>
                  <a:gd name="connsiteY21" fmla="*/ 725477 h 922338"/>
                  <a:gd name="connsiteX22" fmla="*/ 324090 w 1211263"/>
                  <a:gd name="connsiteY22" fmla="*/ 754062 h 922338"/>
                  <a:gd name="connsiteX23" fmla="*/ 301075 w 1211263"/>
                  <a:gd name="connsiteY23" fmla="*/ 748345 h 922338"/>
                  <a:gd name="connsiteX24" fmla="*/ 277340 w 1211263"/>
                  <a:gd name="connsiteY24" fmla="*/ 679741 h 922338"/>
                  <a:gd name="connsiteX25" fmla="*/ 337036 w 1211263"/>
                  <a:gd name="connsiteY25" fmla="*/ 560397 h 922338"/>
                  <a:gd name="connsiteX26" fmla="*/ 383787 w 1211263"/>
                  <a:gd name="connsiteY26" fmla="*/ 531812 h 922338"/>
                  <a:gd name="connsiteX27" fmla="*/ 264641 w 1211263"/>
                  <a:gd name="connsiteY27" fmla="*/ 484187 h 922338"/>
                  <a:gd name="connsiteX28" fmla="*/ 286694 w 1211263"/>
                  <a:gd name="connsiteY28" fmla="*/ 489907 h 922338"/>
                  <a:gd name="connsiteX29" fmla="*/ 310169 w 1211263"/>
                  <a:gd name="connsiteY29" fmla="*/ 558551 h 922338"/>
                  <a:gd name="connsiteX30" fmla="*/ 275312 w 1211263"/>
                  <a:gd name="connsiteY30" fmla="*/ 628624 h 922338"/>
                  <a:gd name="connsiteX31" fmla="*/ 229783 w 1211263"/>
                  <a:gd name="connsiteY31" fmla="*/ 657225 h 922338"/>
                  <a:gd name="connsiteX32" fmla="*/ 207019 w 1211263"/>
                  <a:gd name="connsiteY32" fmla="*/ 651505 h 922338"/>
                  <a:gd name="connsiteX33" fmla="*/ 184255 w 1211263"/>
                  <a:gd name="connsiteY33" fmla="*/ 582862 h 922338"/>
                  <a:gd name="connsiteX34" fmla="*/ 218401 w 1211263"/>
                  <a:gd name="connsiteY34" fmla="*/ 512788 h 922338"/>
                  <a:gd name="connsiteX35" fmla="*/ 264641 w 1211263"/>
                  <a:gd name="connsiteY35" fmla="*/ 484187 h 922338"/>
                  <a:gd name="connsiteX36" fmla="*/ 560388 w 1211263"/>
                  <a:gd name="connsiteY36" fmla="*/ 219075 h 922338"/>
                  <a:gd name="connsiteX37" fmla="*/ 619754 w 1211263"/>
                  <a:gd name="connsiteY37" fmla="*/ 224787 h 922338"/>
                  <a:gd name="connsiteX38" fmla="*/ 1098255 w 1211263"/>
                  <a:gd name="connsiteY38" fmla="*/ 513232 h 922338"/>
                  <a:gd name="connsiteX39" fmla="*/ 1124719 w 1211263"/>
                  <a:gd name="connsiteY39" fmla="*/ 618900 h 922338"/>
                  <a:gd name="connsiteX40" fmla="*/ 1058201 w 1211263"/>
                  <a:gd name="connsiteY40" fmla="*/ 656026 h 922338"/>
                  <a:gd name="connsiteX41" fmla="*/ 1034598 w 1211263"/>
                  <a:gd name="connsiteY41" fmla="*/ 651743 h 922338"/>
                  <a:gd name="connsiteX42" fmla="*/ 1035313 w 1211263"/>
                  <a:gd name="connsiteY42" fmla="*/ 654598 h 922338"/>
                  <a:gd name="connsiteX43" fmla="*/ 1026015 w 1211263"/>
                  <a:gd name="connsiteY43" fmla="*/ 713144 h 922338"/>
                  <a:gd name="connsiteX44" fmla="*/ 960212 w 1211263"/>
                  <a:gd name="connsiteY44" fmla="*/ 750271 h 922338"/>
                  <a:gd name="connsiteX45" fmla="*/ 925880 w 1211263"/>
                  <a:gd name="connsiteY45" fmla="*/ 742417 h 922338"/>
                  <a:gd name="connsiteX46" fmla="*/ 916582 w 1211263"/>
                  <a:gd name="connsiteY46" fmla="*/ 798821 h 922338"/>
                  <a:gd name="connsiteX47" fmla="*/ 850779 w 1211263"/>
                  <a:gd name="connsiteY47" fmla="*/ 835947 h 922338"/>
                  <a:gd name="connsiteX48" fmla="*/ 812871 w 1211263"/>
                  <a:gd name="connsiteY48" fmla="*/ 825952 h 922338"/>
                  <a:gd name="connsiteX49" fmla="*/ 805003 w 1211263"/>
                  <a:gd name="connsiteY49" fmla="*/ 885212 h 922338"/>
                  <a:gd name="connsiteX50" fmla="*/ 739200 w 1211263"/>
                  <a:gd name="connsiteY50" fmla="*/ 922338 h 922338"/>
                  <a:gd name="connsiteX51" fmla="*/ 699862 w 1211263"/>
                  <a:gd name="connsiteY51" fmla="*/ 911629 h 922338"/>
                  <a:gd name="connsiteX52" fmla="*/ 615462 w 1211263"/>
                  <a:gd name="connsiteY52" fmla="*/ 860937 h 922338"/>
                  <a:gd name="connsiteX53" fmla="*/ 631198 w 1211263"/>
                  <a:gd name="connsiteY53" fmla="*/ 840231 h 922338"/>
                  <a:gd name="connsiteX54" fmla="*/ 712736 w 1211263"/>
                  <a:gd name="connsiteY54" fmla="*/ 889495 h 922338"/>
                  <a:gd name="connsiteX55" fmla="*/ 739200 w 1211263"/>
                  <a:gd name="connsiteY55" fmla="*/ 896635 h 922338"/>
                  <a:gd name="connsiteX56" fmla="*/ 782830 w 1211263"/>
                  <a:gd name="connsiteY56" fmla="*/ 872360 h 922338"/>
                  <a:gd name="connsiteX57" fmla="*/ 764949 w 1211263"/>
                  <a:gd name="connsiteY57" fmla="*/ 800963 h 922338"/>
                  <a:gd name="connsiteX58" fmla="*/ 708445 w 1211263"/>
                  <a:gd name="connsiteY58" fmla="*/ 767406 h 922338"/>
                  <a:gd name="connsiteX59" fmla="*/ 704153 w 1211263"/>
                  <a:gd name="connsiteY59" fmla="*/ 745273 h 922338"/>
                  <a:gd name="connsiteX60" fmla="*/ 723465 w 1211263"/>
                  <a:gd name="connsiteY60" fmla="*/ 741703 h 922338"/>
                  <a:gd name="connsiteX61" fmla="*/ 824315 w 1211263"/>
                  <a:gd name="connsiteY61" fmla="*/ 802391 h 922338"/>
                  <a:gd name="connsiteX62" fmla="*/ 850779 w 1211263"/>
                  <a:gd name="connsiteY62" fmla="*/ 810244 h 922338"/>
                  <a:gd name="connsiteX63" fmla="*/ 894409 w 1211263"/>
                  <a:gd name="connsiteY63" fmla="*/ 785255 h 922338"/>
                  <a:gd name="connsiteX64" fmla="*/ 877243 w 1211263"/>
                  <a:gd name="connsiteY64" fmla="*/ 715286 h 922338"/>
                  <a:gd name="connsiteX65" fmla="*/ 787122 w 1211263"/>
                  <a:gd name="connsiteY65" fmla="*/ 661024 h 922338"/>
                  <a:gd name="connsiteX66" fmla="*/ 783546 w 1211263"/>
                  <a:gd name="connsiteY66" fmla="*/ 641033 h 922338"/>
                  <a:gd name="connsiteX67" fmla="*/ 801427 w 1211263"/>
                  <a:gd name="connsiteY67" fmla="*/ 637463 h 922338"/>
                  <a:gd name="connsiteX68" fmla="*/ 933748 w 1211263"/>
                  <a:gd name="connsiteY68" fmla="*/ 717428 h 922338"/>
                  <a:gd name="connsiteX69" fmla="*/ 960212 w 1211263"/>
                  <a:gd name="connsiteY69" fmla="*/ 724568 h 922338"/>
                  <a:gd name="connsiteX70" fmla="*/ 1003842 w 1211263"/>
                  <a:gd name="connsiteY70" fmla="*/ 700293 h 922338"/>
                  <a:gd name="connsiteX71" fmla="*/ 985245 w 1211263"/>
                  <a:gd name="connsiteY71" fmla="*/ 628895 h 922338"/>
                  <a:gd name="connsiteX72" fmla="*/ 867230 w 1211263"/>
                  <a:gd name="connsiteY72" fmla="*/ 557498 h 922338"/>
                  <a:gd name="connsiteX73" fmla="*/ 863653 w 1211263"/>
                  <a:gd name="connsiteY73" fmla="*/ 536793 h 922338"/>
                  <a:gd name="connsiteX74" fmla="*/ 882250 w 1211263"/>
                  <a:gd name="connsiteY74" fmla="*/ 533223 h 922338"/>
                  <a:gd name="connsiteX75" fmla="*/ 1032452 w 1211263"/>
                  <a:gd name="connsiteY75" fmla="*/ 623184 h 922338"/>
                  <a:gd name="connsiteX76" fmla="*/ 1058201 w 1211263"/>
                  <a:gd name="connsiteY76" fmla="*/ 630323 h 922338"/>
                  <a:gd name="connsiteX77" fmla="*/ 1102546 w 1211263"/>
                  <a:gd name="connsiteY77" fmla="*/ 605334 h 922338"/>
                  <a:gd name="connsiteX78" fmla="*/ 1085380 w 1211263"/>
                  <a:gd name="connsiteY78" fmla="*/ 535365 h 922338"/>
                  <a:gd name="connsiteX79" fmla="*/ 560388 w 1211263"/>
                  <a:gd name="connsiteY79" fmla="*/ 219075 h 922338"/>
                  <a:gd name="connsiteX80" fmla="*/ 599192 w 1211263"/>
                  <a:gd name="connsiteY80" fmla="*/ 5020 h 922338"/>
                  <a:gd name="connsiteX81" fmla="*/ 687596 w 1211263"/>
                  <a:gd name="connsiteY81" fmla="*/ 26695 h 922338"/>
                  <a:gd name="connsiteX82" fmla="*/ 988061 w 1211263"/>
                  <a:gd name="connsiteY82" fmla="*/ 151285 h 922338"/>
                  <a:gd name="connsiteX83" fmla="*/ 1184078 w 1211263"/>
                  <a:gd name="connsiteY83" fmla="*/ 50189 h 922338"/>
                  <a:gd name="connsiteX84" fmla="*/ 1211263 w 1211263"/>
                  <a:gd name="connsiteY84" fmla="*/ 63716 h 922338"/>
                  <a:gd name="connsiteX85" fmla="*/ 1211263 w 1211263"/>
                  <a:gd name="connsiteY85" fmla="*/ 411144 h 922338"/>
                  <a:gd name="connsiteX86" fmla="*/ 1205540 w 1211263"/>
                  <a:gd name="connsiteY86" fmla="*/ 419688 h 922338"/>
                  <a:gd name="connsiteX87" fmla="*/ 1081062 w 1211263"/>
                  <a:gd name="connsiteY87" fmla="*/ 451013 h 922338"/>
                  <a:gd name="connsiteX88" fmla="*/ 1072477 w 1211263"/>
                  <a:gd name="connsiteY88" fmla="*/ 450301 h 922338"/>
                  <a:gd name="connsiteX89" fmla="*/ 647534 w 1211263"/>
                  <a:gd name="connsiteY89" fmla="*/ 196137 h 922338"/>
                  <a:gd name="connsiteX90" fmla="*/ 500163 w 1211263"/>
                  <a:gd name="connsiteY90" fmla="*/ 184034 h 922338"/>
                  <a:gd name="connsiteX91" fmla="*/ 470832 w 1211263"/>
                  <a:gd name="connsiteY91" fmla="*/ 198273 h 922338"/>
                  <a:gd name="connsiteX92" fmla="*/ 300569 w 1211263"/>
                  <a:gd name="connsiteY92" fmla="*/ 255229 h 922338"/>
                  <a:gd name="connsiteX93" fmla="*/ 286976 w 1211263"/>
                  <a:gd name="connsiteY93" fmla="*/ 173355 h 922338"/>
                  <a:gd name="connsiteX94" fmla="*/ 599192 w 1211263"/>
                  <a:gd name="connsiteY94" fmla="*/ 5020 h 922338"/>
                  <a:gd name="connsiteX95" fmla="*/ 25738 w 1211263"/>
                  <a:gd name="connsiteY95" fmla="*/ 0 h 922338"/>
                  <a:gd name="connsiteX96" fmla="*/ 43612 w 1211263"/>
                  <a:gd name="connsiteY96" fmla="*/ 6436 h 922338"/>
                  <a:gd name="connsiteX97" fmla="*/ 110817 w 1211263"/>
                  <a:gd name="connsiteY97" fmla="*/ 68650 h 922338"/>
                  <a:gd name="connsiteX98" fmla="*/ 111532 w 1211263"/>
                  <a:gd name="connsiteY98" fmla="*/ 69366 h 922338"/>
                  <a:gd name="connsiteX99" fmla="*/ 231644 w 1211263"/>
                  <a:gd name="connsiteY99" fmla="*/ 135871 h 922338"/>
                  <a:gd name="connsiteX100" fmla="*/ 253808 w 1211263"/>
                  <a:gd name="connsiteY100" fmla="*/ 130150 h 922338"/>
                  <a:gd name="connsiteX101" fmla="*/ 260242 w 1211263"/>
                  <a:gd name="connsiteY101" fmla="*/ 127289 h 922338"/>
                  <a:gd name="connsiteX102" fmla="*/ 295275 w 1211263"/>
                  <a:gd name="connsiteY102" fmla="*/ 115133 h 922338"/>
                  <a:gd name="connsiteX103" fmla="*/ 261672 w 1211263"/>
                  <a:gd name="connsiteY103" fmla="*/ 148028 h 922338"/>
                  <a:gd name="connsiteX104" fmla="*/ 252378 w 1211263"/>
                  <a:gd name="connsiteY104" fmla="*/ 158754 h 922338"/>
                  <a:gd name="connsiteX105" fmla="*/ 231644 w 1211263"/>
                  <a:gd name="connsiteY105" fmla="*/ 161615 h 922338"/>
                  <a:gd name="connsiteX106" fmla="*/ 93658 w 1211263"/>
                  <a:gd name="connsiteY106" fmla="*/ 87958 h 922338"/>
                  <a:gd name="connsiteX107" fmla="*/ 25738 w 1211263"/>
                  <a:gd name="connsiteY107" fmla="*/ 25744 h 922338"/>
                  <a:gd name="connsiteX108" fmla="*/ 25738 w 1211263"/>
                  <a:gd name="connsiteY108" fmla="*/ 399031 h 922338"/>
                  <a:gd name="connsiteX109" fmla="*/ 187317 w 1211263"/>
                  <a:gd name="connsiteY109" fmla="*/ 518455 h 922338"/>
                  <a:gd name="connsiteX110" fmla="*/ 175878 w 1211263"/>
                  <a:gd name="connsiteY110" fmla="*/ 541338 h 922338"/>
                  <a:gd name="connsiteX111" fmla="*/ 10724 w 1211263"/>
                  <a:gd name="connsiteY111" fmla="*/ 419770 h 922338"/>
                  <a:gd name="connsiteX112" fmla="*/ 0 w 1211263"/>
                  <a:gd name="connsiteY112" fmla="*/ 399031 h 922338"/>
                  <a:gd name="connsiteX113" fmla="*/ 0 w 1211263"/>
                  <a:gd name="connsiteY113" fmla="*/ 26459 h 922338"/>
                  <a:gd name="connsiteX114" fmla="*/ 12869 w 1211263"/>
                  <a:gd name="connsiteY114" fmla="*/ 3575 h 922338"/>
                  <a:gd name="connsiteX115" fmla="*/ 25738 w 1211263"/>
                  <a:gd name="connsiteY115" fmla="*/ 0 h 92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211263" h="922338">
                    <a:moveTo>
                      <a:pt x="593617" y="682625"/>
                    </a:moveTo>
                    <a:cubicBezTo>
                      <a:pt x="601511" y="682625"/>
                      <a:pt x="609405" y="684051"/>
                      <a:pt x="616581" y="687617"/>
                    </a:cubicBezTo>
                    <a:cubicBezTo>
                      <a:pt x="642416" y="700454"/>
                      <a:pt x="652463" y="731118"/>
                      <a:pt x="640263" y="756791"/>
                    </a:cubicBezTo>
                    <a:cubicBezTo>
                      <a:pt x="640263" y="756791"/>
                      <a:pt x="640263" y="756791"/>
                      <a:pt x="600076" y="836663"/>
                    </a:cubicBezTo>
                    <a:cubicBezTo>
                      <a:pt x="590746" y="854491"/>
                      <a:pt x="572805" y="865188"/>
                      <a:pt x="553429" y="865188"/>
                    </a:cubicBezTo>
                    <a:cubicBezTo>
                      <a:pt x="546252" y="865188"/>
                      <a:pt x="538358" y="863049"/>
                      <a:pt x="531182" y="859483"/>
                    </a:cubicBezTo>
                    <a:cubicBezTo>
                      <a:pt x="505347" y="847360"/>
                      <a:pt x="495300" y="816695"/>
                      <a:pt x="507500" y="791022"/>
                    </a:cubicBezTo>
                    <a:cubicBezTo>
                      <a:pt x="507500" y="791022"/>
                      <a:pt x="507500" y="791022"/>
                      <a:pt x="547687" y="711151"/>
                    </a:cubicBezTo>
                    <a:cubicBezTo>
                      <a:pt x="557017" y="693322"/>
                      <a:pt x="574958" y="682625"/>
                      <a:pt x="593617" y="682625"/>
                    </a:cubicBezTo>
                    <a:close/>
                    <a:moveTo>
                      <a:pt x="500859" y="584200"/>
                    </a:moveTo>
                    <a:cubicBezTo>
                      <a:pt x="508012" y="584200"/>
                      <a:pt x="515881" y="586333"/>
                      <a:pt x="523034" y="589888"/>
                    </a:cubicBezTo>
                    <a:cubicBezTo>
                      <a:pt x="548785" y="602685"/>
                      <a:pt x="558800" y="633257"/>
                      <a:pt x="546639" y="658141"/>
                    </a:cubicBezTo>
                    <a:cubicBezTo>
                      <a:pt x="546639" y="658141"/>
                      <a:pt x="546639" y="658141"/>
                      <a:pt x="481546" y="787536"/>
                    </a:cubicBezTo>
                    <a:cubicBezTo>
                      <a:pt x="472962" y="805311"/>
                      <a:pt x="454364" y="815975"/>
                      <a:pt x="435765" y="815975"/>
                    </a:cubicBezTo>
                    <a:cubicBezTo>
                      <a:pt x="427897" y="815975"/>
                      <a:pt x="420744" y="813842"/>
                      <a:pt x="412875" y="810287"/>
                    </a:cubicBezTo>
                    <a:cubicBezTo>
                      <a:pt x="388554" y="798201"/>
                      <a:pt x="377825" y="767629"/>
                      <a:pt x="389985" y="742035"/>
                    </a:cubicBezTo>
                    <a:cubicBezTo>
                      <a:pt x="389985" y="742035"/>
                      <a:pt x="389985" y="742035"/>
                      <a:pt x="454364" y="612639"/>
                    </a:cubicBezTo>
                    <a:cubicBezTo>
                      <a:pt x="463663" y="594865"/>
                      <a:pt x="481546" y="584200"/>
                      <a:pt x="500859" y="584200"/>
                    </a:cubicBezTo>
                    <a:close/>
                    <a:moveTo>
                      <a:pt x="383787" y="531812"/>
                    </a:moveTo>
                    <a:cubicBezTo>
                      <a:pt x="390260" y="531812"/>
                      <a:pt x="398172" y="533956"/>
                      <a:pt x="406083" y="537529"/>
                    </a:cubicBezTo>
                    <a:cubicBezTo>
                      <a:pt x="431256" y="550393"/>
                      <a:pt x="441326" y="581122"/>
                      <a:pt x="429099" y="606134"/>
                    </a:cubicBezTo>
                    <a:cubicBezTo>
                      <a:pt x="429099" y="606134"/>
                      <a:pt x="429099" y="606134"/>
                      <a:pt x="370121" y="725477"/>
                    </a:cubicBezTo>
                    <a:cubicBezTo>
                      <a:pt x="360771" y="743343"/>
                      <a:pt x="342790" y="754062"/>
                      <a:pt x="324090" y="754062"/>
                    </a:cubicBezTo>
                    <a:cubicBezTo>
                      <a:pt x="316179" y="754062"/>
                      <a:pt x="308267" y="752633"/>
                      <a:pt x="301075" y="748345"/>
                    </a:cubicBezTo>
                    <a:cubicBezTo>
                      <a:pt x="275182" y="736196"/>
                      <a:pt x="265113" y="705467"/>
                      <a:pt x="277340" y="679741"/>
                    </a:cubicBezTo>
                    <a:cubicBezTo>
                      <a:pt x="277340" y="679741"/>
                      <a:pt x="277340" y="679741"/>
                      <a:pt x="337036" y="560397"/>
                    </a:cubicBezTo>
                    <a:cubicBezTo>
                      <a:pt x="346387" y="542532"/>
                      <a:pt x="364367" y="531812"/>
                      <a:pt x="383787" y="531812"/>
                    </a:cubicBezTo>
                    <a:close/>
                    <a:moveTo>
                      <a:pt x="264641" y="484187"/>
                    </a:moveTo>
                    <a:cubicBezTo>
                      <a:pt x="271755" y="484187"/>
                      <a:pt x="279580" y="486332"/>
                      <a:pt x="286694" y="489907"/>
                    </a:cubicBezTo>
                    <a:cubicBezTo>
                      <a:pt x="312303" y="502063"/>
                      <a:pt x="322263" y="532809"/>
                      <a:pt x="310169" y="558551"/>
                    </a:cubicBezTo>
                    <a:cubicBezTo>
                      <a:pt x="310169" y="558551"/>
                      <a:pt x="310169" y="558551"/>
                      <a:pt x="275312" y="628624"/>
                    </a:cubicBezTo>
                    <a:cubicBezTo>
                      <a:pt x="266064" y="646500"/>
                      <a:pt x="248279" y="657225"/>
                      <a:pt x="229783" y="657225"/>
                    </a:cubicBezTo>
                    <a:cubicBezTo>
                      <a:pt x="221958" y="657225"/>
                      <a:pt x="214133" y="655795"/>
                      <a:pt x="207019" y="651505"/>
                    </a:cubicBezTo>
                    <a:cubicBezTo>
                      <a:pt x="181409" y="639349"/>
                      <a:pt x="171450" y="608603"/>
                      <a:pt x="184255" y="582862"/>
                    </a:cubicBezTo>
                    <a:cubicBezTo>
                      <a:pt x="184255" y="582862"/>
                      <a:pt x="184255" y="582862"/>
                      <a:pt x="218401" y="512788"/>
                    </a:cubicBezTo>
                    <a:cubicBezTo>
                      <a:pt x="227649" y="494913"/>
                      <a:pt x="245433" y="484187"/>
                      <a:pt x="264641" y="484187"/>
                    </a:cubicBezTo>
                    <a:close/>
                    <a:moveTo>
                      <a:pt x="560388" y="219075"/>
                    </a:moveTo>
                    <a:cubicBezTo>
                      <a:pt x="588283" y="220503"/>
                      <a:pt x="606879" y="222645"/>
                      <a:pt x="619754" y="224787"/>
                    </a:cubicBezTo>
                    <a:cubicBezTo>
                      <a:pt x="619754" y="224787"/>
                      <a:pt x="619754" y="224787"/>
                      <a:pt x="1098255" y="513232"/>
                    </a:cubicBezTo>
                    <a:cubicBezTo>
                      <a:pt x="1134732" y="535365"/>
                      <a:pt x="1146176" y="582487"/>
                      <a:pt x="1124719" y="618900"/>
                    </a:cubicBezTo>
                    <a:cubicBezTo>
                      <a:pt x="1110414" y="641747"/>
                      <a:pt x="1085380" y="656026"/>
                      <a:pt x="1058201" y="656026"/>
                    </a:cubicBezTo>
                    <a:cubicBezTo>
                      <a:pt x="1050333" y="656026"/>
                      <a:pt x="1041750" y="654598"/>
                      <a:pt x="1034598" y="651743"/>
                    </a:cubicBezTo>
                    <a:cubicBezTo>
                      <a:pt x="1034598" y="653170"/>
                      <a:pt x="1034598" y="653884"/>
                      <a:pt x="1035313" y="654598"/>
                    </a:cubicBezTo>
                    <a:cubicBezTo>
                      <a:pt x="1040320" y="674590"/>
                      <a:pt x="1036743" y="695295"/>
                      <a:pt x="1026015" y="713144"/>
                    </a:cubicBezTo>
                    <a:cubicBezTo>
                      <a:pt x="1012425" y="735991"/>
                      <a:pt x="987391" y="750271"/>
                      <a:pt x="960212" y="750271"/>
                    </a:cubicBezTo>
                    <a:cubicBezTo>
                      <a:pt x="948053" y="750271"/>
                      <a:pt x="936609" y="747415"/>
                      <a:pt x="925880" y="742417"/>
                    </a:cubicBezTo>
                    <a:cubicBezTo>
                      <a:pt x="930171" y="760980"/>
                      <a:pt x="927310" y="780972"/>
                      <a:pt x="916582" y="798821"/>
                    </a:cubicBezTo>
                    <a:cubicBezTo>
                      <a:pt x="902992" y="821668"/>
                      <a:pt x="877958" y="835947"/>
                      <a:pt x="850779" y="835947"/>
                    </a:cubicBezTo>
                    <a:cubicBezTo>
                      <a:pt x="837904" y="835947"/>
                      <a:pt x="824315" y="832378"/>
                      <a:pt x="812871" y="825952"/>
                    </a:cubicBezTo>
                    <a:cubicBezTo>
                      <a:pt x="818593" y="845229"/>
                      <a:pt x="815732" y="866648"/>
                      <a:pt x="805003" y="885212"/>
                    </a:cubicBezTo>
                    <a:cubicBezTo>
                      <a:pt x="790698" y="908059"/>
                      <a:pt x="766380" y="922338"/>
                      <a:pt x="739200" y="922338"/>
                    </a:cubicBezTo>
                    <a:cubicBezTo>
                      <a:pt x="725610" y="922338"/>
                      <a:pt x="712021" y="918768"/>
                      <a:pt x="699862" y="911629"/>
                    </a:cubicBezTo>
                    <a:cubicBezTo>
                      <a:pt x="699862" y="911629"/>
                      <a:pt x="699862" y="911629"/>
                      <a:pt x="615462" y="860937"/>
                    </a:cubicBezTo>
                    <a:cubicBezTo>
                      <a:pt x="615462" y="860937"/>
                      <a:pt x="615462" y="860937"/>
                      <a:pt x="631198" y="840231"/>
                    </a:cubicBezTo>
                    <a:cubicBezTo>
                      <a:pt x="631198" y="840231"/>
                      <a:pt x="631198" y="840231"/>
                      <a:pt x="712736" y="889495"/>
                    </a:cubicBezTo>
                    <a:cubicBezTo>
                      <a:pt x="721319" y="894493"/>
                      <a:pt x="730617" y="896635"/>
                      <a:pt x="739200" y="896635"/>
                    </a:cubicBezTo>
                    <a:cubicBezTo>
                      <a:pt x="756366" y="896635"/>
                      <a:pt x="773532" y="888067"/>
                      <a:pt x="782830" y="872360"/>
                    </a:cubicBezTo>
                    <a:cubicBezTo>
                      <a:pt x="797135" y="848085"/>
                      <a:pt x="788552" y="815956"/>
                      <a:pt x="764949" y="800963"/>
                    </a:cubicBezTo>
                    <a:cubicBezTo>
                      <a:pt x="764949" y="800963"/>
                      <a:pt x="764949" y="800963"/>
                      <a:pt x="708445" y="767406"/>
                    </a:cubicBezTo>
                    <a:cubicBezTo>
                      <a:pt x="700577" y="762408"/>
                      <a:pt x="698431" y="752413"/>
                      <a:pt x="704153" y="745273"/>
                    </a:cubicBezTo>
                    <a:cubicBezTo>
                      <a:pt x="708445" y="739561"/>
                      <a:pt x="717028" y="737419"/>
                      <a:pt x="723465" y="741703"/>
                    </a:cubicBezTo>
                    <a:cubicBezTo>
                      <a:pt x="723465" y="741703"/>
                      <a:pt x="723465" y="741703"/>
                      <a:pt x="824315" y="802391"/>
                    </a:cubicBezTo>
                    <a:cubicBezTo>
                      <a:pt x="832898" y="807389"/>
                      <a:pt x="841481" y="810244"/>
                      <a:pt x="850779" y="810244"/>
                    </a:cubicBezTo>
                    <a:cubicBezTo>
                      <a:pt x="867945" y="810244"/>
                      <a:pt x="885111" y="800963"/>
                      <a:pt x="894409" y="785255"/>
                    </a:cubicBezTo>
                    <a:cubicBezTo>
                      <a:pt x="909429" y="760980"/>
                      <a:pt x="901561" y="729566"/>
                      <a:pt x="877243" y="715286"/>
                    </a:cubicBezTo>
                    <a:cubicBezTo>
                      <a:pt x="877243" y="715286"/>
                      <a:pt x="877243" y="715286"/>
                      <a:pt x="787122" y="661024"/>
                    </a:cubicBezTo>
                    <a:cubicBezTo>
                      <a:pt x="780685" y="656740"/>
                      <a:pt x="779254" y="647459"/>
                      <a:pt x="783546" y="641033"/>
                    </a:cubicBezTo>
                    <a:cubicBezTo>
                      <a:pt x="787837" y="635321"/>
                      <a:pt x="795705" y="633893"/>
                      <a:pt x="801427" y="637463"/>
                    </a:cubicBezTo>
                    <a:cubicBezTo>
                      <a:pt x="801427" y="637463"/>
                      <a:pt x="801427" y="637463"/>
                      <a:pt x="933748" y="717428"/>
                    </a:cubicBezTo>
                    <a:cubicBezTo>
                      <a:pt x="942331" y="722426"/>
                      <a:pt x="950914" y="724568"/>
                      <a:pt x="960212" y="724568"/>
                    </a:cubicBezTo>
                    <a:cubicBezTo>
                      <a:pt x="977378" y="724568"/>
                      <a:pt x="994544" y="716000"/>
                      <a:pt x="1003842" y="700293"/>
                    </a:cubicBezTo>
                    <a:cubicBezTo>
                      <a:pt x="1018862" y="676018"/>
                      <a:pt x="1009564" y="643175"/>
                      <a:pt x="985245" y="628895"/>
                    </a:cubicBezTo>
                    <a:cubicBezTo>
                      <a:pt x="985245" y="628895"/>
                      <a:pt x="985245" y="628895"/>
                      <a:pt x="867230" y="557498"/>
                    </a:cubicBezTo>
                    <a:cubicBezTo>
                      <a:pt x="860077" y="553214"/>
                      <a:pt x="857931" y="543219"/>
                      <a:pt x="863653" y="536793"/>
                    </a:cubicBezTo>
                    <a:cubicBezTo>
                      <a:pt x="867945" y="530367"/>
                      <a:pt x="875813" y="528939"/>
                      <a:pt x="882250" y="533223"/>
                    </a:cubicBezTo>
                    <a:cubicBezTo>
                      <a:pt x="882250" y="533223"/>
                      <a:pt x="882250" y="533223"/>
                      <a:pt x="1032452" y="623184"/>
                    </a:cubicBezTo>
                    <a:cubicBezTo>
                      <a:pt x="1040320" y="628181"/>
                      <a:pt x="1049618" y="630323"/>
                      <a:pt x="1058201" y="630323"/>
                    </a:cubicBezTo>
                    <a:cubicBezTo>
                      <a:pt x="1076082" y="630323"/>
                      <a:pt x="1093248" y="621756"/>
                      <a:pt x="1102546" y="605334"/>
                    </a:cubicBezTo>
                    <a:cubicBezTo>
                      <a:pt x="1116851" y="581059"/>
                      <a:pt x="1108983" y="549644"/>
                      <a:pt x="1085380" y="535365"/>
                    </a:cubicBezTo>
                    <a:cubicBezTo>
                      <a:pt x="1085380" y="535365"/>
                      <a:pt x="1085380" y="535365"/>
                      <a:pt x="560388" y="219075"/>
                    </a:cubicBezTo>
                    <a:close/>
                    <a:moveTo>
                      <a:pt x="599192" y="5020"/>
                    </a:moveTo>
                    <a:cubicBezTo>
                      <a:pt x="639978" y="7339"/>
                      <a:pt x="668817" y="20822"/>
                      <a:pt x="687596" y="26695"/>
                    </a:cubicBezTo>
                    <a:cubicBezTo>
                      <a:pt x="758420" y="47341"/>
                      <a:pt x="935122" y="139182"/>
                      <a:pt x="988061" y="151285"/>
                    </a:cubicBezTo>
                    <a:cubicBezTo>
                      <a:pt x="1026692" y="160540"/>
                      <a:pt x="1133286" y="87922"/>
                      <a:pt x="1184078" y="50189"/>
                    </a:cubicBezTo>
                    <a:cubicBezTo>
                      <a:pt x="1195525" y="42358"/>
                      <a:pt x="1211263" y="50189"/>
                      <a:pt x="1211263" y="63716"/>
                    </a:cubicBezTo>
                    <a:cubicBezTo>
                      <a:pt x="1211263" y="63716"/>
                      <a:pt x="1211263" y="63716"/>
                      <a:pt x="1211263" y="411144"/>
                    </a:cubicBezTo>
                    <a:cubicBezTo>
                      <a:pt x="1211263" y="415416"/>
                      <a:pt x="1209117" y="418264"/>
                      <a:pt x="1205540" y="419688"/>
                    </a:cubicBezTo>
                    <a:cubicBezTo>
                      <a:pt x="1205540" y="419688"/>
                      <a:pt x="1205540" y="419688"/>
                      <a:pt x="1081062" y="451013"/>
                    </a:cubicBezTo>
                    <a:cubicBezTo>
                      <a:pt x="1078200" y="452437"/>
                      <a:pt x="1074623" y="451725"/>
                      <a:pt x="1072477" y="450301"/>
                    </a:cubicBezTo>
                    <a:cubicBezTo>
                      <a:pt x="1032415" y="424671"/>
                      <a:pt x="696896" y="213224"/>
                      <a:pt x="647534" y="196137"/>
                    </a:cubicBezTo>
                    <a:cubicBezTo>
                      <a:pt x="608903" y="181899"/>
                      <a:pt x="534502" y="183322"/>
                      <a:pt x="500163" y="184034"/>
                    </a:cubicBezTo>
                    <a:cubicBezTo>
                      <a:pt x="488717" y="184746"/>
                      <a:pt x="477986" y="189730"/>
                      <a:pt x="470832" y="198273"/>
                    </a:cubicBezTo>
                    <a:cubicBezTo>
                      <a:pt x="398578" y="277299"/>
                      <a:pt x="339915" y="274451"/>
                      <a:pt x="300569" y="255229"/>
                    </a:cubicBezTo>
                    <a:cubicBezTo>
                      <a:pt x="269092" y="239566"/>
                      <a:pt x="261938" y="198273"/>
                      <a:pt x="286976" y="173355"/>
                    </a:cubicBezTo>
                    <a:cubicBezTo>
                      <a:pt x="430055" y="28297"/>
                      <a:pt x="531216" y="1154"/>
                      <a:pt x="599192" y="5020"/>
                    </a:cubicBezTo>
                    <a:close/>
                    <a:moveTo>
                      <a:pt x="25738" y="0"/>
                    </a:moveTo>
                    <a:cubicBezTo>
                      <a:pt x="32173" y="0"/>
                      <a:pt x="38607" y="2145"/>
                      <a:pt x="43612" y="6436"/>
                    </a:cubicBezTo>
                    <a:cubicBezTo>
                      <a:pt x="110817" y="68650"/>
                      <a:pt x="110817" y="68650"/>
                      <a:pt x="110817" y="68650"/>
                    </a:cubicBezTo>
                    <a:cubicBezTo>
                      <a:pt x="111532" y="69366"/>
                      <a:pt x="111532" y="69366"/>
                      <a:pt x="111532" y="69366"/>
                    </a:cubicBezTo>
                    <a:cubicBezTo>
                      <a:pt x="130121" y="87958"/>
                      <a:pt x="188032" y="135871"/>
                      <a:pt x="231644" y="135871"/>
                    </a:cubicBezTo>
                    <a:cubicBezTo>
                      <a:pt x="240223" y="135871"/>
                      <a:pt x="247373" y="133725"/>
                      <a:pt x="253808" y="130150"/>
                    </a:cubicBezTo>
                    <a:cubicBezTo>
                      <a:pt x="255952" y="128720"/>
                      <a:pt x="258097" y="128004"/>
                      <a:pt x="260242" y="127289"/>
                    </a:cubicBezTo>
                    <a:cubicBezTo>
                      <a:pt x="295275" y="115133"/>
                      <a:pt x="295275" y="115133"/>
                      <a:pt x="295275" y="115133"/>
                    </a:cubicBezTo>
                    <a:cubicBezTo>
                      <a:pt x="283836" y="125859"/>
                      <a:pt x="273111" y="136586"/>
                      <a:pt x="261672" y="148028"/>
                    </a:cubicBezTo>
                    <a:cubicBezTo>
                      <a:pt x="258097" y="151603"/>
                      <a:pt x="255237" y="155179"/>
                      <a:pt x="252378" y="158754"/>
                    </a:cubicBezTo>
                    <a:cubicBezTo>
                      <a:pt x="245943" y="160900"/>
                      <a:pt x="238794" y="161615"/>
                      <a:pt x="231644" y="161615"/>
                    </a:cubicBezTo>
                    <a:cubicBezTo>
                      <a:pt x="167298" y="161615"/>
                      <a:pt x="93658" y="87958"/>
                      <a:pt x="93658" y="87958"/>
                    </a:cubicBezTo>
                    <a:cubicBezTo>
                      <a:pt x="25738" y="25744"/>
                      <a:pt x="25738" y="25744"/>
                      <a:pt x="25738" y="25744"/>
                    </a:cubicBezTo>
                    <a:cubicBezTo>
                      <a:pt x="25738" y="399031"/>
                      <a:pt x="25738" y="399031"/>
                      <a:pt x="25738" y="399031"/>
                    </a:cubicBezTo>
                    <a:cubicBezTo>
                      <a:pt x="187317" y="518455"/>
                      <a:pt x="187317" y="518455"/>
                      <a:pt x="187317" y="518455"/>
                    </a:cubicBezTo>
                    <a:cubicBezTo>
                      <a:pt x="175878" y="541338"/>
                      <a:pt x="175878" y="541338"/>
                      <a:pt x="175878" y="541338"/>
                    </a:cubicBezTo>
                    <a:cubicBezTo>
                      <a:pt x="10724" y="419770"/>
                      <a:pt x="10724" y="419770"/>
                      <a:pt x="10724" y="419770"/>
                    </a:cubicBezTo>
                    <a:cubicBezTo>
                      <a:pt x="4289" y="414764"/>
                      <a:pt x="0" y="406898"/>
                      <a:pt x="0" y="399031"/>
                    </a:cubicBezTo>
                    <a:cubicBezTo>
                      <a:pt x="0" y="26459"/>
                      <a:pt x="0" y="26459"/>
                      <a:pt x="0" y="26459"/>
                    </a:cubicBezTo>
                    <a:cubicBezTo>
                      <a:pt x="0" y="17163"/>
                      <a:pt x="5004" y="7866"/>
                      <a:pt x="12869" y="3575"/>
                    </a:cubicBezTo>
                    <a:cubicBezTo>
                      <a:pt x="17159" y="715"/>
                      <a:pt x="21448" y="0"/>
                      <a:pt x="25738" y="0"/>
                    </a:cubicBezTo>
                    <a:close/>
                  </a:path>
                </a:pathLst>
              </a:custGeom>
              <a:solidFill>
                <a:schemeClr val="tx1"/>
              </a:solidFill>
              <a:ln>
                <a:noFill/>
              </a:ln>
            </p:spPr>
            <p:txBody>
              <a:bodyPr vert="horz" wrap="square" lIns="82296" tIns="41148" rIns="82296" bIns="41148" numCol="1" anchor="t" anchorCtr="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200" b="0" i="0" u="none" strike="noStrike" kern="120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grpSp>
        <p:pic>
          <p:nvPicPr>
            <p:cNvPr id="22" name="Picture 21">
              <a:extLst>
                <a:ext uri="{FF2B5EF4-FFF2-40B4-BE49-F238E27FC236}">
                  <a16:creationId xmlns:a16="http://schemas.microsoft.com/office/drawing/2014/main" id="{286E7D29-D1E5-90E4-B155-D735EC1DBD31}"/>
                </a:ext>
              </a:extLst>
            </p:cNvPr>
            <p:cNvPicPr>
              <a:picLocks noChangeAspect="1"/>
            </p:cNvPicPr>
            <p:nvPr/>
          </p:nvPicPr>
          <p:blipFill>
            <a:blip r:embed="rId2">
              <a:biLevel thresh="75000"/>
            </a:blip>
            <a:stretch>
              <a:fillRect/>
            </a:stretch>
          </p:blipFill>
          <p:spPr>
            <a:xfrm>
              <a:off x="11383874" y="3667429"/>
              <a:ext cx="451104" cy="449580"/>
            </a:xfrm>
            <a:prstGeom prst="rect">
              <a:avLst/>
            </a:prstGeom>
          </p:spPr>
        </p:pic>
        <p:pic>
          <p:nvPicPr>
            <p:cNvPr id="23" name="Picture 22">
              <a:extLst>
                <a:ext uri="{FF2B5EF4-FFF2-40B4-BE49-F238E27FC236}">
                  <a16:creationId xmlns:a16="http://schemas.microsoft.com/office/drawing/2014/main" id="{B3257D72-33DF-0447-7FAE-31235911340D}"/>
                </a:ext>
              </a:extLst>
            </p:cNvPr>
            <p:cNvPicPr>
              <a:picLocks noChangeAspect="1"/>
            </p:cNvPicPr>
            <p:nvPr/>
          </p:nvPicPr>
          <p:blipFill>
            <a:blip r:embed="rId3">
              <a:biLevel thresh="75000"/>
            </a:blip>
            <a:stretch>
              <a:fillRect/>
            </a:stretch>
          </p:blipFill>
          <p:spPr>
            <a:xfrm>
              <a:off x="11309198" y="2834370"/>
              <a:ext cx="525780" cy="525780"/>
            </a:xfrm>
            <a:prstGeom prst="rect">
              <a:avLst/>
            </a:prstGeom>
          </p:spPr>
        </p:pic>
        <p:grpSp>
          <p:nvGrpSpPr>
            <p:cNvPr id="24" name="Group 23">
              <a:extLst>
                <a:ext uri="{FF2B5EF4-FFF2-40B4-BE49-F238E27FC236}">
                  <a16:creationId xmlns:a16="http://schemas.microsoft.com/office/drawing/2014/main" id="{09A2ED74-A069-7B70-02A0-15C196B4AD02}"/>
                </a:ext>
              </a:extLst>
            </p:cNvPr>
            <p:cNvGrpSpPr>
              <a:grpSpLocks noChangeAspect="1"/>
            </p:cNvGrpSpPr>
            <p:nvPr/>
          </p:nvGrpSpPr>
          <p:grpSpPr>
            <a:xfrm flipH="1">
              <a:off x="11328245" y="5097178"/>
              <a:ext cx="569988" cy="569988"/>
              <a:chOff x="5273675" y="2606675"/>
              <a:chExt cx="1644650" cy="1644650"/>
            </a:xfrm>
          </p:grpSpPr>
          <p:sp>
            <p:nvSpPr>
              <p:cNvPr id="32" name="AutoShape 3">
                <a:extLst>
                  <a:ext uri="{FF2B5EF4-FFF2-40B4-BE49-F238E27FC236}">
                    <a16:creationId xmlns:a16="http://schemas.microsoft.com/office/drawing/2014/main" id="{BE8B9BA7-F2A1-A73C-60C5-4496818949A8}"/>
                  </a:ext>
                </a:extLst>
              </p:cNvPr>
              <p:cNvSpPr>
                <a:spLocks noChangeAspect="1" noChangeArrowheads="1" noTextEdit="1"/>
              </p:cNvSpPr>
              <p:nvPr/>
            </p:nvSpPr>
            <p:spPr bwMode="auto">
              <a:xfrm flipH="1">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1800" b="0" i="0" u="none" strike="noStrike" kern="120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3" name="Freeform 31">
                <a:extLst>
                  <a:ext uri="{FF2B5EF4-FFF2-40B4-BE49-F238E27FC236}">
                    <a16:creationId xmlns:a16="http://schemas.microsoft.com/office/drawing/2014/main" id="{4EF28DB4-79C0-EC33-D6A6-81BE89B80867}"/>
                  </a:ext>
                </a:extLst>
              </p:cNvPr>
              <p:cNvSpPr>
                <a:spLocks/>
              </p:cNvSpPr>
              <p:nvPr/>
            </p:nvSpPr>
            <p:spPr bwMode="auto">
              <a:xfrm flipH="1">
                <a:off x="5338764" y="2770188"/>
                <a:ext cx="1517649" cy="1311275"/>
              </a:xfrm>
              <a:custGeom>
                <a:avLst/>
                <a:gdLst>
                  <a:gd name="connsiteX0" fmla="*/ 955047 w 1517650"/>
                  <a:gd name="connsiteY0" fmla="*/ 1035050 h 1311275"/>
                  <a:gd name="connsiteX1" fmla="*/ 1088898 w 1517650"/>
                  <a:gd name="connsiteY1" fmla="*/ 1144255 h 1311275"/>
                  <a:gd name="connsiteX2" fmla="*/ 1095340 w 1517650"/>
                  <a:gd name="connsiteY2" fmla="*/ 1144255 h 1311275"/>
                  <a:gd name="connsiteX3" fmla="*/ 1228475 w 1517650"/>
                  <a:gd name="connsiteY3" fmla="*/ 1035050 h 1311275"/>
                  <a:gd name="connsiteX4" fmla="*/ 1410283 w 1517650"/>
                  <a:gd name="connsiteY4" fmla="*/ 1065742 h 1311275"/>
                  <a:gd name="connsiteX5" fmla="*/ 1466114 w 1517650"/>
                  <a:gd name="connsiteY5" fmla="*/ 1119274 h 1311275"/>
                  <a:gd name="connsiteX6" fmla="*/ 1517650 w 1517650"/>
                  <a:gd name="connsiteY6" fmla="*/ 1293431 h 1311275"/>
                  <a:gd name="connsiteX7" fmla="*/ 1517650 w 1517650"/>
                  <a:gd name="connsiteY7" fmla="*/ 1295572 h 1311275"/>
                  <a:gd name="connsiteX8" fmla="*/ 1501903 w 1517650"/>
                  <a:gd name="connsiteY8" fmla="*/ 1311275 h 1311275"/>
                  <a:gd name="connsiteX9" fmla="*/ 879175 w 1517650"/>
                  <a:gd name="connsiteY9" fmla="*/ 1311275 h 1311275"/>
                  <a:gd name="connsiteX10" fmla="*/ 882038 w 1517650"/>
                  <a:gd name="connsiteY10" fmla="*/ 1295572 h 1311275"/>
                  <a:gd name="connsiteX11" fmla="*/ 882038 w 1517650"/>
                  <a:gd name="connsiteY11" fmla="*/ 1293431 h 1311275"/>
                  <a:gd name="connsiteX12" fmla="*/ 824776 w 1517650"/>
                  <a:gd name="connsiteY12" fmla="*/ 1102144 h 1311275"/>
                  <a:gd name="connsiteX13" fmla="*/ 788987 w 1517650"/>
                  <a:gd name="connsiteY13" fmla="*/ 1059318 h 1311275"/>
                  <a:gd name="connsiteX14" fmla="*/ 955047 w 1517650"/>
                  <a:gd name="connsiteY14" fmla="*/ 1035050 h 1311275"/>
                  <a:gd name="connsiteX15" fmla="*/ 288162 w 1517650"/>
                  <a:gd name="connsiteY15" fmla="*/ 1035050 h 1311275"/>
                  <a:gd name="connsiteX16" fmla="*/ 366593 w 1517650"/>
                  <a:gd name="connsiteY16" fmla="*/ 1090456 h 1311275"/>
                  <a:gd name="connsiteX17" fmla="*/ 425092 w 1517650"/>
                  <a:gd name="connsiteY17" fmla="*/ 1100295 h 1311275"/>
                  <a:gd name="connsiteX18" fmla="*/ 422590 w 1517650"/>
                  <a:gd name="connsiteY18" fmla="*/ 1100716 h 1311275"/>
                  <a:gd name="connsiteX19" fmla="*/ 427595 w 1517650"/>
                  <a:gd name="connsiteY19" fmla="*/ 1100716 h 1311275"/>
                  <a:gd name="connsiteX20" fmla="*/ 425092 w 1517650"/>
                  <a:gd name="connsiteY20" fmla="*/ 1100295 h 1311275"/>
                  <a:gd name="connsiteX21" fmla="*/ 483592 w 1517650"/>
                  <a:gd name="connsiteY21" fmla="*/ 1090456 h 1311275"/>
                  <a:gd name="connsiteX22" fmla="*/ 562023 w 1517650"/>
                  <a:gd name="connsiteY22" fmla="*/ 1035050 h 1311275"/>
                  <a:gd name="connsiteX23" fmla="*/ 744359 w 1517650"/>
                  <a:gd name="connsiteY23" fmla="*/ 1065742 h 1311275"/>
                  <a:gd name="connsiteX24" fmla="*/ 799417 w 1517650"/>
                  <a:gd name="connsiteY24" fmla="*/ 1119274 h 1311275"/>
                  <a:gd name="connsiteX25" fmla="*/ 850900 w 1517650"/>
                  <a:gd name="connsiteY25" fmla="*/ 1293431 h 1311275"/>
                  <a:gd name="connsiteX26" fmla="*/ 850900 w 1517650"/>
                  <a:gd name="connsiteY26" fmla="*/ 1295572 h 1311275"/>
                  <a:gd name="connsiteX27" fmla="*/ 835169 w 1517650"/>
                  <a:gd name="connsiteY27" fmla="*/ 1311275 h 1311275"/>
                  <a:gd name="connsiteX28" fmla="*/ 15731 w 1517650"/>
                  <a:gd name="connsiteY28" fmla="*/ 1311275 h 1311275"/>
                  <a:gd name="connsiteX29" fmla="*/ 0 w 1517650"/>
                  <a:gd name="connsiteY29" fmla="*/ 1295572 h 1311275"/>
                  <a:gd name="connsiteX30" fmla="*/ 0 w 1517650"/>
                  <a:gd name="connsiteY30" fmla="*/ 1293431 h 1311275"/>
                  <a:gd name="connsiteX31" fmla="*/ 50768 w 1517650"/>
                  <a:gd name="connsiteY31" fmla="*/ 1119274 h 1311275"/>
                  <a:gd name="connsiteX32" fmla="*/ 106541 w 1517650"/>
                  <a:gd name="connsiteY32" fmla="*/ 1065742 h 1311275"/>
                  <a:gd name="connsiteX33" fmla="*/ 288162 w 1517650"/>
                  <a:gd name="connsiteY33" fmla="*/ 1035050 h 1311275"/>
                  <a:gd name="connsiteX34" fmla="*/ 1302460 w 1517650"/>
                  <a:gd name="connsiteY34" fmla="*/ 871537 h 1311275"/>
                  <a:gd name="connsiteX35" fmla="*/ 1355725 w 1517650"/>
                  <a:gd name="connsiteY35" fmla="*/ 972693 h 1311275"/>
                  <a:gd name="connsiteX36" fmla="*/ 1301020 w 1517650"/>
                  <a:gd name="connsiteY36" fmla="*/ 1008062 h 1311275"/>
                  <a:gd name="connsiteX37" fmla="*/ 1239837 w 1517650"/>
                  <a:gd name="connsiteY37" fmla="*/ 1003110 h 1311275"/>
                  <a:gd name="connsiteX38" fmla="*/ 1239837 w 1517650"/>
                  <a:gd name="connsiteY38" fmla="*/ 990378 h 1311275"/>
                  <a:gd name="connsiteX39" fmla="*/ 1302460 w 1517650"/>
                  <a:gd name="connsiteY39" fmla="*/ 871537 h 1311275"/>
                  <a:gd name="connsiteX40" fmla="*/ 880352 w 1517650"/>
                  <a:gd name="connsiteY40" fmla="*/ 869950 h 1311275"/>
                  <a:gd name="connsiteX41" fmla="*/ 942975 w 1517650"/>
                  <a:gd name="connsiteY41" fmla="*/ 989553 h 1311275"/>
                  <a:gd name="connsiteX42" fmla="*/ 942975 w 1517650"/>
                  <a:gd name="connsiteY42" fmla="*/ 1003080 h 1311275"/>
                  <a:gd name="connsiteX43" fmla="*/ 882511 w 1517650"/>
                  <a:gd name="connsiteY43" fmla="*/ 1008063 h 1311275"/>
                  <a:gd name="connsiteX44" fmla="*/ 827087 w 1517650"/>
                  <a:gd name="connsiteY44" fmla="*/ 972467 h 1311275"/>
                  <a:gd name="connsiteX45" fmla="*/ 880352 w 1517650"/>
                  <a:gd name="connsiteY45" fmla="*/ 869950 h 1311275"/>
                  <a:gd name="connsiteX46" fmla="*/ 863600 w 1517650"/>
                  <a:gd name="connsiteY46" fmla="*/ 768350 h 1311275"/>
                  <a:gd name="connsiteX47" fmla="*/ 901462 w 1517650"/>
                  <a:gd name="connsiteY47" fmla="*/ 786177 h 1311275"/>
                  <a:gd name="connsiteX48" fmla="*/ 917178 w 1517650"/>
                  <a:gd name="connsiteY48" fmla="*/ 801153 h 1311275"/>
                  <a:gd name="connsiteX49" fmla="*/ 924322 w 1517650"/>
                  <a:gd name="connsiteY49" fmla="*/ 809710 h 1311275"/>
                  <a:gd name="connsiteX50" fmla="*/ 990044 w 1517650"/>
                  <a:gd name="connsiteY50" fmla="*/ 948765 h 1311275"/>
                  <a:gd name="connsiteX51" fmla="*/ 1092200 w 1517650"/>
                  <a:gd name="connsiteY51" fmla="*/ 1000108 h 1311275"/>
                  <a:gd name="connsiteX52" fmla="*/ 1193641 w 1517650"/>
                  <a:gd name="connsiteY52" fmla="*/ 948765 h 1311275"/>
                  <a:gd name="connsiteX53" fmla="*/ 1260078 w 1517650"/>
                  <a:gd name="connsiteY53" fmla="*/ 809710 h 1311275"/>
                  <a:gd name="connsiteX54" fmla="*/ 1267222 w 1517650"/>
                  <a:gd name="connsiteY54" fmla="*/ 801153 h 1311275"/>
                  <a:gd name="connsiteX55" fmla="*/ 1282938 w 1517650"/>
                  <a:gd name="connsiteY55" fmla="*/ 786177 h 1311275"/>
                  <a:gd name="connsiteX56" fmla="*/ 1320800 w 1517650"/>
                  <a:gd name="connsiteY56" fmla="*/ 768350 h 1311275"/>
                  <a:gd name="connsiteX57" fmla="*/ 1320800 w 1517650"/>
                  <a:gd name="connsiteY57" fmla="*/ 771915 h 1311275"/>
                  <a:gd name="connsiteX58" fmla="*/ 1287225 w 1517650"/>
                  <a:gd name="connsiteY58" fmla="*/ 826111 h 1311275"/>
                  <a:gd name="connsiteX59" fmla="*/ 1215072 w 1517650"/>
                  <a:gd name="connsiteY59" fmla="*/ 972297 h 1311275"/>
                  <a:gd name="connsiteX60" fmla="*/ 1209357 w 1517650"/>
                  <a:gd name="connsiteY60" fmla="*/ 976576 h 1311275"/>
                  <a:gd name="connsiteX61" fmla="*/ 1209357 w 1517650"/>
                  <a:gd name="connsiteY61" fmla="*/ 1009378 h 1311275"/>
                  <a:gd name="connsiteX62" fmla="*/ 1208643 w 1517650"/>
                  <a:gd name="connsiteY62" fmla="*/ 1010092 h 1311275"/>
                  <a:gd name="connsiteX63" fmla="*/ 1177925 w 1517650"/>
                  <a:gd name="connsiteY63" fmla="*/ 1035050 h 1311275"/>
                  <a:gd name="connsiteX64" fmla="*/ 1177925 w 1517650"/>
                  <a:gd name="connsiteY64" fmla="*/ 998682 h 1311275"/>
                  <a:gd name="connsiteX65" fmla="*/ 1092200 w 1517650"/>
                  <a:gd name="connsiteY65" fmla="*/ 1031485 h 1311275"/>
                  <a:gd name="connsiteX66" fmla="*/ 1005760 w 1517650"/>
                  <a:gd name="connsiteY66" fmla="*/ 998682 h 1311275"/>
                  <a:gd name="connsiteX67" fmla="*/ 1005760 w 1517650"/>
                  <a:gd name="connsiteY67" fmla="*/ 1035050 h 1311275"/>
                  <a:gd name="connsiteX68" fmla="*/ 975757 w 1517650"/>
                  <a:gd name="connsiteY68" fmla="*/ 1010092 h 1311275"/>
                  <a:gd name="connsiteX69" fmla="*/ 974328 w 1517650"/>
                  <a:gd name="connsiteY69" fmla="*/ 1009378 h 1311275"/>
                  <a:gd name="connsiteX70" fmla="*/ 974328 w 1517650"/>
                  <a:gd name="connsiteY70" fmla="*/ 975863 h 1311275"/>
                  <a:gd name="connsiteX71" fmla="*/ 969327 w 1517650"/>
                  <a:gd name="connsiteY71" fmla="*/ 972297 h 1311275"/>
                  <a:gd name="connsiteX72" fmla="*/ 897175 w 1517650"/>
                  <a:gd name="connsiteY72" fmla="*/ 826111 h 1311275"/>
                  <a:gd name="connsiteX73" fmla="*/ 863600 w 1517650"/>
                  <a:gd name="connsiteY73" fmla="*/ 773342 h 1311275"/>
                  <a:gd name="connsiteX74" fmla="*/ 863600 w 1517650"/>
                  <a:gd name="connsiteY74" fmla="*/ 768350 h 1311275"/>
                  <a:gd name="connsiteX75" fmla="*/ 196850 w 1517650"/>
                  <a:gd name="connsiteY75" fmla="*/ 768350 h 1311275"/>
                  <a:gd name="connsiteX76" fmla="*/ 234653 w 1517650"/>
                  <a:gd name="connsiteY76" fmla="*/ 786267 h 1311275"/>
                  <a:gd name="connsiteX77" fmla="*/ 250344 w 1517650"/>
                  <a:gd name="connsiteY77" fmla="*/ 801317 h 1311275"/>
                  <a:gd name="connsiteX78" fmla="*/ 257477 w 1517650"/>
                  <a:gd name="connsiteY78" fmla="*/ 809917 h 1311275"/>
                  <a:gd name="connsiteX79" fmla="*/ 323097 w 1517650"/>
                  <a:gd name="connsiteY79" fmla="*/ 949667 h 1311275"/>
                  <a:gd name="connsiteX80" fmla="*/ 425093 w 1517650"/>
                  <a:gd name="connsiteY80" fmla="*/ 1001267 h 1311275"/>
                  <a:gd name="connsiteX81" fmla="*/ 527089 w 1517650"/>
                  <a:gd name="connsiteY81" fmla="*/ 949667 h 1311275"/>
                  <a:gd name="connsiteX82" fmla="*/ 593423 w 1517650"/>
                  <a:gd name="connsiteY82" fmla="*/ 809917 h 1311275"/>
                  <a:gd name="connsiteX83" fmla="*/ 600555 w 1517650"/>
                  <a:gd name="connsiteY83" fmla="*/ 801317 h 1311275"/>
                  <a:gd name="connsiteX84" fmla="*/ 616247 w 1517650"/>
                  <a:gd name="connsiteY84" fmla="*/ 786267 h 1311275"/>
                  <a:gd name="connsiteX85" fmla="*/ 654050 w 1517650"/>
                  <a:gd name="connsiteY85" fmla="*/ 768350 h 1311275"/>
                  <a:gd name="connsiteX86" fmla="*/ 654050 w 1517650"/>
                  <a:gd name="connsiteY86" fmla="*/ 771933 h 1311275"/>
                  <a:gd name="connsiteX87" fmla="*/ 620527 w 1517650"/>
                  <a:gd name="connsiteY87" fmla="*/ 826400 h 1311275"/>
                  <a:gd name="connsiteX88" fmla="*/ 548487 w 1517650"/>
                  <a:gd name="connsiteY88" fmla="*/ 973317 h 1311275"/>
                  <a:gd name="connsiteX89" fmla="*/ 543494 w 1517650"/>
                  <a:gd name="connsiteY89" fmla="*/ 976900 h 1311275"/>
                  <a:gd name="connsiteX90" fmla="*/ 543494 w 1517650"/>
                  <a:gd name="connsiteY90" fmla="*/ 1008433 h 1311275"/>
                  <a:gd name="connsiteX91" fmla="*/ 536362 w 1517650"/>
                  <a:gd name="connsiteY91" fmla="*/ 1017033 h 1311275"/>
                  <a:gd name="connsiteX92" fmla="*/ 512111 w 1517650"/>
                  <a:gd name="connsiteY92" fmla="*/ 1041400 h 1311275"/>
                  <a:gd name="connsiteX93" fmla="*/ 512111 w 1517650"/>
                  <a:gd name="connsiteY93" fmla="*/ 999833 h 1311275"/>
                  <a:gd name="connsiteX94" fmla="*/ 425093 w 1517650"/>
                  <a:gd name="connsiteY94" fmla="*/ 1032800 h 1311275"/>
                  <a:gd name="connsiteX95" fmla="*/ 339502 w 1517650"/>
                  <a:gd name="connsiteY95" fmla="*/ 999833 h 1311275"/>
                  <a:gd name="connsiteX96" fmla="*/ 339502 w 1517650"/>
                  <a:gd name="connsiteY96" fmla="*/ 1041400 h 1311275"/>
                  <a:gd name="connsiteX97" fmla="*/ 314538 w 1517650"/>
                  <a:gd name="connsiteY97" fmla="*/ 1017033 h 1311275"/>
                  <a:gd name="connsiteX98" fmla="*/ 308118 w 1517650"/>
                  <a:gd name="connsiteY98" fmla="*/ 1008433 h 1311275"/>
                  <a:gd name="connsiteX99" fmla="*/ 308118 w 1517650"/>
                  <a:gd name="connsiteY99" fmla="*/ 977617 h 1311275"/>
                  <a:gd name="connsiteX100" fmla="*/ 302412 w 1517650"/>
                  <a:gd name="connsiteY100" fmla="*/ 973317 h 1311275"/>
                  <a:gd name="connsiteX101" fmla="*/ 230373 w 1517650"/>
                  <a:gd name="connsiteY101" fmla="*/ 826400 h 1311275"/>
                  <a:gd name="connsiteX102" fmla="*/ 196850 w 1517650"/>
                  <a:gd name="connsiteY102" fmla="*/ 773367 h 1311275"/>
                  <a:gd name="connsiteX103" fmla="*/ 196850 w 1517650"/>
                  <a:gd name="connsiteY103" fmla="*/ 768350 h 1311275"/>
                  <a:gd name="connsiteX104" fmla="*/ 1091126 w 1517650"/>
                  <a:gd name="connsiteY104" fmla="*/ 431800 h 1311275"/>
                  <a:gd name="connsiteX105" fmla="*/ 1313734 w 1517650"/>
                  <a:gd name="connsiteY105" fmla="*/ 656987 h 1311275"/>
                  <a:gd name="connsiteX106" fmla="*/ 1305861 w 1517650"/>
                  <a:gd name="connsiteY106" fmla="*/ 733479 h 1311275"/>
                  <a:gd name="connsiteX107" fmla="*/ 1305861 w 1517650"/>
                  <a:gd name="connsiteY107" fmla="*/ 732764 h 1311275"/>
                  <a:gd name="connsiteX108" fmla="*/ 1281524 w 1517650"/>
                  <a:gd name="connsiteY108" fmla="*/ 767793 h 1311275"/>
                  <a:gd name="connsiteX109" fmla="*/ 1279377 w 1517650"/>
                  <a:gd name="connsiteY109" fmla="*/ 768508 h 1311275"/>
                  <a:gd name="connsiteX110" fmla="*/ 1265061 w 1517650"/>
                  <a:gd name="connsiteY110" fmla="*/ 768508 h 1311275"/>
                  <a:gd name="connsiteX111" fmla="*/ 1263630 w 1517650"/>
                  <a:gd name="connsiteY111" fmla="*/ 768508 h 1311275"/>
                  <a:gd name="connsiteX112" fmla="*/ 971591 w 1517650"/>
                  <a:gd name="connsiteY112" fmla="*/ 612664 h 1311275"/>
                  <a:gd name="connsiteX113" fmla="*/ 968728 w 1517650"/>
                  <a:gd name="connsiteY113" fmla="*/ 612664 h 1311275"/>
                  <a:gd name="connsiteX114" fmla="*/ 882118 w 1517650"/>
                  <a:gd name="connsiteY114" fmla="*/ 749921 h 1311275"/>
                  <a:gd name="connsiteX115" fmla="*/ 882118 w 1517650"/>
                  <a:gd name="connsiteY115" fmla="*/ 749206 h 1311275"/>
                  <a:gd name="connsiteX116" fmla="*/ 869950 w 1517650"/>
                  <a:gd name="connsiteY116" fmla="*/ 656987 h 1311275"/>
                  <a:gd name="connsiteX117" fmla="*/ 1091126 w 1517650"/>
                  <a:gd name="connsiteY117" fmla="*/ 431800 h 1311275"/>
                  <a:gd name="connsiteX118" fmla="*/ 425450 w 1517650"/>
                  <a:gd name="connsiteY118" fmla="*/ 431800 h 1311275"/>
                  <a:gd name="connsiteX119" fmla="*/ 646983 w 1517650"/>
                  <a:gd name="connsiteY119" fmla="*/ 659000 h 1311275"/>
                  <a:gd name="connsiteX120" fmla="*/ 639097 w 1517650"/>
                  <a:gd name="connsiteY120" fmla="*/ 735689 h 1311275"/>
                  <a:gd name="connsiteX121" fmla="*/ 614004 w 1517650"/>
                  <a:gd name="connsiteY121" fmla="*/ 771525 h 1311275"/>
                  <a:gd name="connsiteX122" fmla="*/ 597514 w 1517650"/>
                  <a:gd name="connsiteY122" fmla="*/ 771525 h 1311275"/>
                  <a:gd name="connsiteX123" fmla="*/ 595363 w 1517650"/>
                  <a:gd name="connsiteY123" fmla="*/ 603813 h 1311275"/>
                  <a:gd name="connsiteX124" fmla="*/ 303571 w 1517650"/>
                  <a:gd name="connsiteY124" fmla="*/ 613847 h 1311275"/>
                  <a:gd name="connsiteX125" fmla="*/ 249084 w 1517650"/>
                  <a:gd name="connsiteY125" fmla="*/ 768658 h 1311275"/>
                  <a:gd name="connsiteX126" fmla="*/ 234028 w 1517650"/>
                  <a:gd name="connsiteY126" fmla="*/ 766508 h 1311275"/>
                  <a:gd name="connsiteX127" fmla="*/ 211803 w 1517650"/>
                  <a:gd name="connsiteY127" fmla="*/ 738556 h 1311275"/>
                  <a:gd name="connsiteX128" fmla="*/ 211803 w 1517650"/>
                  <a:gd name="connsiteY128" fmla="*/ 737839 h 1311275"/>
                  <a:gd name="connsiteX129" fmla="*/ 203200 w 1517650"/>
                  <a:gd name="connsiteY129" fmla="*/ 659000 h 1311275"/>
                  <a:gd name="connsiteX130" fmla="*/ 425450 w 1517650"/>
                  <a:gd name="connsiteY130" fmla="*/ 431800 h 1311275"/>
                  <a:gd name="connsiteX131" fmla="*/ 1351838 w 1517650"/>
                  <a:gd name="connsiteY131" fmla="*/ 417512 h 1311275"/>
                  <a:gd name="connsiteX132" fmla="*/ 1470682 w 1517650"/>
                  <a:gd name="connsiteY132" fmla="*/ 472908 h 1311275"/>
                  <a:gd name="connsiteX133" fmla="*/ 1468547 w 1517650"/>
                  <a:gd name="connsiteY133" fmla="*/ 494924 h 1311275"/>
                  <a:gd name="connsiteX134" fmla="*/ 1458584 w 1517650"/>
                  <a:gd name="connsiteY134" fmla="*/ 498475 h 1311275"/>
                  <a:gd name="connsiteX135" fmla="*/ 1446486 w 1517650"/>
                  <a:gd name="connsiteY135" fmla="*/ 492793 h 1311275"/>
                  <a:gd name="connsiteX136" fmla="*/ 1351838 w 1517650"/>
                  <a:gd name="connsiteY136" fmla="*/ 448761 h 1311275"/>
                  <a:gd name="connsiteX137" fmla="*/ 1272135 w 1517650"/>
                  <a:gd name="connsiteY137" fmla="*/ 477169 h 1311275"/>
                  <a:gd name="connsiteX138" fmla="*/ 1272135 w 1517650"/>
                  <a:gd name="connsiteY138" fmla="*/ 476459 h 1311275"/>
                  <a:gd name="connsiteX139" fmla="*/ 1249362 w 1517650"/>
                  <a:gd name="connsiteY139" fmla="*/ 455863 h 1311275"/>
                  <a:gd name="connsiteX140" fmla="*/ 1351838 w 1517650"/>
                  <a:gd name="connsiteY140" fmla="*/ 417512 h 1311275"/>
                  <a:gd name="connsiteX141" fmla="*/ 759619 w 1517650"/>
                  <a:gd name="connsiteY141" fmla="*/ 417512 h 1311275"/>
                  <a:gd name="connsiteX142" fmla="*/ 878541 w 1517650"/>
                  <a:gd name="connsiteY142" fmla="*/ 473604 h 1311275"/>
                  <a:gd name="connsiteX143" fmla="*/ 877117 w 1517650"/>
                  <a:gd name="connsiteY143" fmla="*/ 495897 h 1311275"/>
                  <a:gd name="connsiteX144" fmla="*/ 867147 w 1517650"/>
                  <a:gd name="connsiteY144" fmla="*/ 499492 h 1311275"/>
                  <a:gd name="connsiteX145" fmla="*/ 855041 w 1517650"/>
                  <a:gd name="connsiteY145" fmla="*/ 493739 h 1311275"/>
                  <a:gd name="connsiteX146" fmla="*/ 759619 w 1517650"/>
                  <a:gd name="connsiteY146" fmla="*/ 449154 h 1311275"/>
                  <a:gd name="connsiteX147" fmla="*/ 664196 w 1517650"/>
                  <a:gd name="connsiteY147" fmla="*/ 493739 h 1311275"/>
                  <a:gd name="connsiteX148" fmla="*/ 642121 w 1517650"/>
                  <a:gd name="connsiteY148" fmla="*/ 495897 h 1311275"/>
                  <a:gd name="connsiteX149" fmla="*/ 640697 w 1517650"/>
                  <a:gd name="connsiteY149" fmla="*/ 473604 h 1311275"/>
                  <a:gd name="connsiteX150" fmla="*/ 759619 w 1517650"/>
                  <a:gd name="connsiteY150" fmla="*/ 417512 h 1311275"/>
                  <a:gd name="connsiteX151" fmla="*/ 165812 w 1517650"/>
                  <a:gd name="connsiteY151" fmla="*/ 417512 h 1311275"/>
                  <a:gd name="connsiteX152" fmla="*/ 268288 w 1517650"/>
                  <a:gd name="connsiteY152" fmla="*/ 456345 h 1311275"/>
                  <a:gd name="connsiteX153" fmla="*/ 244804 w 1517650"/>
                  <a:gd name="connsiteY153" fmla="*/ 477200 h 1311275"/>
                  <a:gd name="connsiteX154" fmla="*/ 165812 w 1517650"/>
                  <a:gd name="connsiteY154" fmla="*/ 449154 h 1311275"/>
                  <a:gd name="connsiteX155" fmla="*/ 71164 w 1517650"/>
                  <a:gd name="connsiteY155" fmla="*/ 493739 h 1311275"/>
                  <a:gd name="connsiteX156" fmla="*/ 49103 w 1517650"/>
                  <a:gd name="connsiteY156" fmla="*/ 495897 h 1311275"/>
                  <a:gd name="connsiteX157" fmla="*/ 46968 w 1517650"/>
                  <a:gd name="connsiteY157" fmla="*/ 473604 h 1311275"/>
                  <a:gd name="connsiteX158" fmla="*/ 165812 w 1517650"/>
                  <a:gd name="connsiteY158" fmla="*/ 417512 h 1311275"/>
                  <a:gd name="connsiteX159" fmla="*/ 1260912 w 1517650"/>
                  <a:gd name="connsiteY159" fmla="*/ 277812 h 1311275"/>
                  <a:gd name="connsiteX160" fmla="*/ 1380889 w 1517650"/>
                  <a:gd name="connsiteY160" fmla="*/ 333904 h 1311275"/>
                  <a:gd name="connsiteX161" fmla="*/ 1378747 w 1517650"/>
                  <a:gd name="connsiteY161" fmla="*/ 356197 h 1311275"/>
                  <a:gd name="connsiteX162" fmla="*/ 1368749 w 1517650"/>
                  <a:gd name="connsiteY162" fmla="*/ 359792 h 1311275"/>
                  <a:gd name="connsiteX163" fmla="*/ 1356608 w 1517650"/>
                  <a:gd name="connsiteY163" fmla="*/ 354759 h 1311275"/>
                  <a:gd name="connsiteX164" fmla="*/ 1260912 w 1517650"/>
                  <a:gd name="connsiteY164" fmla="*/ 309454 h 1311275"/>
                  <a:gd name="connsiteX165" fmla="*/ 1165930 w 1517650"/>
                  <a:gd name="connsiteY165" fmla="*/ 354759 h 1311275"/>
                  <a:gd name="connsiteX166" fmla="*/ 1143791 w 1517650"/>
                  <a:gd name="connsiteY166" fmla="*/ 356197 h 1311275"/>
                  <a:gd name="connsiteX167" fmla="*/ 1142363 w 1517650"/>
                  <a:gd name="connsiteY167" fmla="*/ 333904 h 1311275"/>
                  <a:gd name="connsiteX168" fmla="*/ 1260912 w 1517650"/>
                  <a:gd name="connsiteY168" fmla="*/ 277812 h 1311275"/>
                  <a:gd name="connsiteX169" fmla="*/ 926306 w 1517650"/>
                  <a:gd name="connsiteY169" fmla="*/ 277812 h 1311275"/>
                  <a:gd name="connsiteX170" fmla="*/ 1045940 w 1517650"/>
                  <a:gd name="connsiteY170" fmla="*/ 333904 h 1311275"/>
                  <a:gd name="connsiteX171" fmla="*/ 1043804 w 1517650"/>
                  <a:gd name="connsiteY171" fmla="*/ 356197 h 1311275"/>
                  <a:gd name="connsiteX172" fmla="*/ 1033834 w 1517650"/>
                  <a:gd name="connsiteY172" fmla="*/ 359792 h 1311275"/>
                  <a:gd name="connsiteX173" fmla="*/ 1021728 w 1517650"/>
                  <a:gd name="connsiteY173" fmla="*/ 354759 h 1311275"/>
                  <a:gd name="connsiteX174" fmla="*/ 926306 w 1517650"/>
                  <a:gd name="connsiteY174" fmla="*/ 309454 h 1311275"/>
                  <a:gd name="connsiteX175" fmla="*/ 830883 w 1517650"/>
                  <a:gd name="connsiteY175" fmla="*/ 354759 h 1311275"/>
                  <a:gd name="connsiteX176" fmla="*/ 808808 w 1517650"/>
                  <a:gd name="connsiteY176" fmla="*/ 356197 h 1311275"/>
                  <a:gd name="connsiteX177" fmla="*/ 807384 w 1517650"/>
                  <a:gd name="connsiteY177" fmla="*/ 333904 h 1311275"/>
                  <a:gd name="connsiteX178" fmla="*/ 926306 w 1517650"/>
                  <a:gd name="connsiteY178" fmla="*/ 277812 h 1311275"/>
                  <a:gd name="connsiteX179" fmla="*/ 592137 w 1517650"/>
                  <a:gd name="connsiteY179" fmla="*/ 277812 h 1311275"/>
                  <a:gd name="connsiteX180" fmla="*/ 711817 w 1517650"/>
                  <a:gd name="connsiteY180" fmla="*/ 333904 h 1311275"/>
                  <a:gd name="connsiteX181" fmla="*/ 710383 w 1517650"/>
                  <a:gd name="connsiteY181" fmla="*/ 356197 h 1311275"/>
                  <a:gd name="connsiteX182" fmla="*/ 700350 w 1517650"/>
                  <a:gd name="connsiteY182" fmla="*/ 359792 h 1311275"/>
                  <a:gd name="connsiteX183" fmla="*/ 688167 w 1517650"/>
                  <a:gd name="connsiteY183" fmla="*/ 354759 h 1311275"/>
                  <a:gd name="connsiteX184" fmla="*/ 592137 w 1517650"/>
                  <a:gd name="connsiteY184" fmla="*/ 309454 h 1311275"/>
                  <a:gd name="connsiteX185" fmla="*/ 496107 w 1517650"/>
                  <a:gd name="connsiteY185" fmla="*/ 354759 h 1311275"/>
                  <a:gd name="connsiteX186" fmla="*/ 473891 w 1517650"/>
                  <a:gd name="connsiteY186" fmla="*/ 356197 h 1311275"/>
                  <a:gd name="connsiteX187" fmla="*/ 471741 w 1517650"/>
                  <a:gd name="connsiteY187" fmla="*/ 333904 h 1311275"/>
                  <a:gd name="connsiteX188" fmla="*/ 592137 w 1517650"/>
                  <a:gd name="connsiteY188" fmla="*/ 277812 h 1311275"/>
                  <a:gd name="connsiteX189" fmla="*/ 257174 w 1517650"/>
                  <a:gd name="connsiteY189" fmla="*/ 277812 h 1311275"/>
                  <a:gd name="connsiteX190" fmla="*/ 376854 w 1517650"/>
                  <a:gd name="connsiteY190" fmla="*/ 333904 h 1311275"/>
                  <a:gd name="connsiteX191" fmla="*/ 375420 w 1517650"/>
                  <a:gd name="connsiteY191" fmla="*/ 356197 h 1311275"/>
                  <a:gd name="connsiteX192" fmla="*/ 365387 w 1517650"/>
                  <a:gd name="connsiteY192" fmla="*/ 359792 h 1311275"/>
                  <a:gd name="connsiteX193" fmla="*/ 353204 w 1517650"/>
                  <a:gd name="connsiteY193" fmla="*/ 354759 h 1311275"/>
                  <a:gd name="connsiteX194" fmla="*/ 257174 w 1517650"/>
                  <a:gd name="connsiteY194" fmla="*/ 309454 h 1311275"/>
                  <a:gd name="connsiteX195" fmla="*/ 161144 w 1517650"/>
                  <a:gd name="connsiteY195" fmla="*/ 354759 h 1311275"/>
                  <a:gd name="connsiteX196" fmla="*/ 138928 w 1517650"/>
                  <a:gd name="connsiteY196" fmla="*/ 356197 h 1311275"/>
                  <a:gd name="connsiteX197" fmla="*/ 136778 w 1517650"/>
                  <a:gd name="connsiteY197" fmla="*/ 333904 h 1311275"/>
                  <a:gd name="connsiteX198" fmla="*/ 257174 w 1517650"/>
                  <a:gd name="connsiteY198" fmla="*/ 277812 h 1311275"/>
                  <a:gd name="connsiteX199" fmla="*/ 1093351 w 1517650"/>
                  <a:gd name="connsiteY199" fmla="*/ 139700 h 1311275"/>
                  <a:gd name="connsiteX200" fmla="*/ 1212614 w 1517650"/>
                  <a:gd name="connsiteY200" fmla="*/ 196030 h 1311275"/>
                  <a:gd name="connsiteX201" fmla="*/ 1210471 w 1517650"/>
                  <a:gd name="connsiteY201" fmla="*/ 218134 h 1311275"/>
                  <a:gd name="connsiteX202" fmla="*/ 1200473 w 1517650"/>
                  <a:gd name="connsiteY202" fmla="*/ 221699 h 1311275"/>
                  <a:gd name="connsiteX203" fmla="*/ 1188333 w 1517650"/>
                  <a:gd name="connsiteY203" fmla="*/ 215994 h 1311275"/>
                  <a:gd name="connsiteX204" fmla="*/ 1093351 w 1517650"/>
                  <a:gd name="connsiteY204" fmla="*/ 171786 h 1311275"/>
                  <a:gd name="connsiteX205" fmla="*/ 997655 w 1517650"/>
                  <a:gd name="connsiteY205" fmla="*/ 215994 h 1311275"/>
                  <a:gd name="connsiteX206" fmla="*/ 975516 w 1517650"/>
                  <a:gd name="connsiteY206" fmla="*/ 218134 h 1311275"/>
                  <a:gd name="connsiteX207" fmla="*/ 974088 w 1517650"/>
                  <a:gd name="connsiteY207" fmla="*/ 196030 h 1311275"/>
                  <a:gd name="connsiteX208" fmla="*/ 1093351 w 1517650"/>
                  <a:gd name="connsiteY208" fmla="*/ 139700 h 1311275"/>
                  <a:gd name="connsiteX209" fmla="*/ 759619 w 1517650"/>
                  <a:gd name="connsiteY209" fmla="*/ 139700 h 1311275"/>
                  <a:gd name="connsiteX210" fmla="*/ 878541 w 1517650"/>
                  <a:gd name="connsiteY210" fmla="*/ 196030 h 1311275"/>
                  <a:gd name="connsiteX211" fmla="*/ 877117 w 1517650"/>
                  <a:gd name="connsiteY211" fmla="*/ 218134 h 1311275"/>
                  <a:gd name="connsiteX212" fmla="*/ 867147 w 1517650"/>
                  <a:gd name="connsiteY212" fmla="*/ 221699 h 1311275"/>
                  <a:gd name="connsiteX213" fmla="*/ 855041 w 1517650"/>
                  <a:gd name="connsiteY213" fmla="*/ 215994 h 1311275"/>
                  <a:gd name="connsiteX214" fmla="*/ 759619 w 1517650"/>
                  <a:gd name="connsiteY214" fmla="*/ 171786 h 1311275"/>
                  <a:gd name="connsiteX215" fmla="*/ 664196 w 1517650"/>
                  <a:gd name="connsiteY215" fmla="*/ 215994 h 1311275"/>
                  <a:gd name="connsiteX216" fmla="*/ 642121 w 1517650"/>
                  <a:gd name="connsiteY216" fmla="*/ 218134 h 1311275"/>
                  <a:gd name="connsiteX217" fmla="*/ 640697 w 1517650"/>
                  <a:gd name="connsiteY217" fmla="*/ 196030 h 1311275"/>
                  <a:gd name="connsiteX218" fmla="*/ 759619 w 1517650"/>
                  <a:gd name="connsiteY218" fmla="*/ 139700 h 1311275"/>
                  <a:gd name="connsiteX219" fmla="*/ 424656 w 1517650"/>
                  <a:gd name="connsiteY219" fmla="*/ 139700 h 1311275"/>
                  <a:gd name="connsiteX220" fmla="*/ 543578 w 1517650"/>
                  <a:gd name="connsiteY220" fmla="*/ 196030 h 1311275"/>
                  <a:gd name="connsiteX221" fmla="*/ 542154 w 1517650"/>
                  <a:gd name="connsiteY221" fmla="*/ 218134 h 1311275"/>
                  <a:gd name="connsiteX222" fmla="*/ 532184 w 1517650"/>
                  <a:gd name="connsiteY222" fmla="*/ 221699 h 1311275"/>
                  <a:gd name="connsiteX223" fmla="*/ 520078 w 1517650"/>
                  <a:gd name="connsiteY223" fmla="*/ 215994 h 1311275"/>
                  <a:gd name="connsiteX224" fmla="*/ 424656 w 1517650"/>
                  <a:gd name="connsiteY224" fmla="*/ 171786 h 1311275"/>
                  <a:gd name="connsiteX225" fmla="*/ 329233 w 1517650"/>
                  <a:gd name="connsiteY225" fmla="*/ 215994 h 1311275"/>
                  <a:gd name="connsiteX226" fmla="*/ 307158 w 1517650"/>
                  <a:gd name="connsiteY226" fmla="*/ 218134 h 1311275"/>
                  <a:gd name="connsiteX227" fmla="*/ 305022 w 1517650"/>
                  <a:gd name="connsiteY227" fmla="*/ 196030 h 1311275"/>
                  <a:gd name="connsiteX228" fmla="*/ 424656 w 1517650"/>
                  <a:gd name="connsiteY228" fmla="*/ 139700 h 1311275"/>
                  <a:gd name="connsiteX229" fmla="*/ 926306 w 1517650"/>
                  <a:gd name="connsiteY229" fmla="*/ 0 h 1311275"/>
                  <a:gd name="connsiteX230" fmla="*/ 1045940 w 1517650"/>
                  <a:gd name="connsiteY230" fmla="*/ 56092 h 1311275"/>
                  <a:gd name="connsiteX231" fmla="*/ 1043804 w 1517650"/>
                  <a:gd name="connsiteY231" fmla="*/ 78385 h 1311275"/>
                  <a:gd name="connsiteX232" fmla="*/ 1033834 w 1517650"/>
                  <a:gd name="connsiteY232" fmla="*/ 81980 h 1311275"/>
                  <a:gd name="connsiteX233" fmla="*/ 1021728 w 1517650"/>
                  <a:gd name="connsiteY233" fmla="*/ 76947 h 1311275"/>
                  <a:gd name="connsiteX234" fmla="*/ 926306 w 1517650"/>
                  <a:gd name="connsiteY234" fmla="*/ 31642 h 1311275"/>
                  <a:gd name="connsiteX235" fmla="*/ 830883 w 1517650"/>
                  <a:gd name="connsiteY235" fmla="*/ 76947 h 1311275"/>
                  <a:gd name="connsiteX236" fmla="*/ 808808 w 1517650"/>
                  <a:gd name="connsiteY236" fmla="*/ 78385 h 1311275"/>
                  <a:gd name="connsiteX237" fmla="*/ 807384 w 1517650"/>
                  <a:gd name="connsiteY237" fmla="*/ 56092 h 1311275"/>
                  <a:gd name="connsiteX238" fmla="*/ 926306 w 1517650"/>
                  <a:gd name="connsiteY238" fmla="*/ 0 h 1311275"/>
                  <a:gd name="connsiteX239" fmla="*/ 592137 w 1517650"/>
                  <a:gd name="connsiteY239" fmla="*/ 0 h 1311275"/>
                  <a:gd name="connsiteX240" fmla="*/ 711817 w 1517650"/>
                  <a:gd name="connsiteY240" fmla="*/ 56092 h 1311275"/>
                  <a:gd name="connsiteX241" fmla="*/ 710383 w 1517650"/>
                  <a:gd name="connsiteY241" fmla="*/ 78385 h 1311275"/>
                  <a:gd name="connsiteX242" fmla="*/ 700350 w 1517650"/>
                  <a:gd name="connsiteY242" fmla="*/ 81980 h 1311275"/>
                  <a:gd name="connsiteX243" fmla="*/ 688167 w 1517650"/>
                  <a:gd name="connsiteY243" fmla="*/ 76947 h 1311275"/>
                  <a:gd name="connsiteX244" fmla="*/ 592137 w 1517650"/>
                  <a:gd name="connsiteY244" fmla="*/ 31642 h 1311275"/>
                  <a:gd name="connsiteX245" fmla="*/ 496107 w 1517650"/>
                  <a:gd name="connsiteY245" fmla="*/ 76947 h 1311275"/>
                  <a:gd name="connsiteX246" fmla="*/ 473891 w 1517650"/>
                  <a:gd name="connsiteY246" fmla="*/ 78385 h 1311275"/>
                  <a:gd name="connsiteX247" fmla="*/ 471741 w 1517650"/>
                  <a:gd name="connsiteY247" fmla="*/ 56092 h 1311275"/>
                  <a:gd name="connsiteX248" fmla="*/ 592137 w 1517650"/>
                  <a:gd name="connsiteY248" fmla="*/ 0 h 131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Lst>
                <a:rect l="l" t="t" r="r" b="b"/>
                <a:pathLst>
                  <a:path w="1517650" h="1311275">
                    <a:moveTo>
                      <a:pt x="955047" y="1035050"/>
                    </a:moveTo>
                    <a:cubicBezTo>
                      <a:pt x="955047" y="1035050"/>
                      <a:pt x="1045951" y="1110709"/>
                      <a:pt x="1088898" y="1144255"/>
                    </a:cubicBezTo>
                    <a:cubicBezTo>
                      <a:pt x="1091045" y="1145683"/>
                      <a:pt x="1093193" y="1145683"/>
                      <a:pt x="1095340" y="1144255"/>
                    </a:cubicBezTo>
                    <a:cubicBezTo>
                      <a:pt x="1153318" y="1097861"/>
                      <a:pt x="1228475" y="1035050"/>
                      <a:pt x="1228475" y="1035050"/>
                    </a:cubicBezTo>
                    <a:cubicBezTo>
                      <a:pt x="1228475" y="1035050"/>
                      <a:pt x="1346579" y="1036478"/>
                      <a:pt x="1410283" y="1065742"/>
                    </a:cubicBezTo>
                    <a:cubicBezTo>
                      <a:pt x="1431757" y="1075734"/>
                      <a:pt x="1450367" y="1095720"/>
                      <a:pt x="1466114" y="1119274"/>
                    </a:cubicBezTo>
                    <a:cubicBezTo>
                      <a:pt x="1500472" y="1170664"/>
                      <a:pt x="1517650" y="1231334"/>
                      <a:pt x="1517650" y="1293431"/>
                    </a:cubicBezTo>
                    <a:cubicBezTo>
                      <a:pt x="1517650" y="1293431"/>
                      <a:pt x="1517650" y="1293431"/>
                      <a:pt x="1517650" y="1295572"/>
                    </a:cubicBezTo>
                    <a:cubicBezTo>
                      <a:pt x="1517650" y="1304138"/>
                      <a:pt x="1510492" y="1311275"/>
                      <a:pt x="1501903" y="1311275"/>
                    </a:cubicBezTo>
                    <a:cubicBezTo>
                      <a:pt x="1501903" y="1311275"/>
                      <a:pt x="1501903" y="1311275"/>
                      <a:pt x="879175" y="1311275"/>
                    </a:cubicBezTo>
                    <a:cubicBezTo>
                      <a:pt x="881322" y="1306279"/>
                      <a:pt x="882038" y="1300569"/>
                      <a:pt x="882038" y="1295572"/>
                    </a:cubicBezTo>
                    <a:cubicBezTo>
                      <a:pt x="882038" y="1295572"/>
                      <a:pt x="882038" y="1295572"/>
                      <a:pt x="882038" y="1293431"/>
                    </a:cubicBezTo>
                    <a:cubicBezTo>
                      <a:pt x="882038" y="1224196"/>
                      <a:pt x="862712" y="1157817"/>
                      <a:pt x="824776" y="1102144"/>
                    </a:cubicBezTo>
                    <a:cubicBezTo>
                      <a:pt x="813323" y="1085013"/>
                      <a:pt x="801871" y="1070738"/>
                      <a:pt x="788987" y="1059318"/>
                    </a:cubicBezTo>
                    <a:cubicBezTo>
                      <a:pt x="854838" y="1036478"/>
                      <a:pt x="955047" y="1035050"/>
                      <a:pt x="955047" y="1035050"/>
                    </a:cubicBezTo>
                    <a:close/>
                    <a:moveTo>
                      <a:pt x="288162" y="1035050"/>
                    </a:moveTo>
                    <a:cubicBezTo>
                      <a:pt x="288162" y="1035050"/>
                      <a:pt x="314305" y="1071987"/>
                      <a:pt x="366593" y="1090456"/>
                    </a:cubicBezTo>
                    <a:lnTo>
                      <a:pt x="425092" y="1100295"/>
                    </a:lnTo>
                    <a:lnTo>
                      <a:pt x="422590" y="1100716"/>
                    </a:lnTo>
                    <a:cubicBezTo>
                      <a:pt x="427595" y="1100716"/>
                      <a:pt x="427595" y="1100716"/>
                      <a:pt x="427595" y="1100716"/>
                    </a:cubicBezTo>
                    <a:lnTo>
                      <a:pt x="425092" y="1100295"/>
                    </a:lnTo>
                    <a:lnTo>
                      <a:pt x="483592" y="1090456"/>
                    </a:lnTo>
                    <a:cubicBezTo>
                      <a:pt x="535879" y="1071987"/>
                      <a:pt x="562023" y="1035050"/>
                      <a:pt x="562023" y="1035050"/>
                    </a:cubicBezTo>
                    <a:cubicBezTo>
                      <a:pt x="562023" y="1035050"/>
                      <a:pt x="680005" y="1036478"/>
                      <a:pt x="744359" y="1065742"/>
                    </a:cubicBezTo>
                    <a:cubicBezTo>
                      <a:pt x="765095" y="1075734"/>
                      <a:pt x="783686" y="1095720"/>
                      <a:pt x="799417" y="1119274"/>
                    </a:cubicBezTo>
                    <a:cubicBezTo>
                      <a:pt x="833739" y="1170664"/>
                      <a:pt x="850900" y="1231334"/>
                      <a:pt x="850900" y="1293431"/>
                    </a:cubicBezTo>
                    <a:cubicBezTo>
                      <a:pt x="850900" y="1293431"/>
                      <a:pt x="850900" y="1293431"/>
                      <a:pt x="850900" y="1295572"/>
                    </a:cubicBezTo>
                    <a:cubicBezTo>
                      <a:pt x="850900" y="1304138"/>
                      <a:pt x="843749" y="1311275"/>
                      <a:pt x="835169" y="1311275"/>
                    </a:cubicBezTo>
                    <a:cubicBezTo>
                      <a:pt x="835169" y="1311275"/>
                      <a:pt x="835169" y="1311275"/>
                      <a:pt x="15731" y="1311275"/>
                    </a:cubicBezTo>
                    <a:cubicBezTo>
                      <a:pt x="7150" y="1311275"/>
                      <a:pt x="0" y="1304138"/>
                      <a:pt x="0" y="1295572"/>
                    </a:cubicBezTo>
                    <a:cubicBezTo>
                      <a:pt x="0" y="1295572"/>
                      <a:pt x="0" y="1295572"/>
                      <a:pt x="0" y="1293431"/>
                    </a:cubicBezTo>
                    <a:cubicBezTo>
                      <a:pt x="0" y="1231334"/>
                      <a:pt x="17161" y="1170664"/>
                      <a:pt x="50768" y="1119274"/>
                    </a:cubicBezTo>
                    <a:cubicBezTo>
                      <a:pt x="66499" y="1095720"/>
                      <a:pt x="85090" y="1075734"/>
                      <a:pt x="106541" y="1065742"/>
                    </a:cubicBezTo>
                    <a:cubicBezTo>
                      <a:pt x="170180" y="1036478"/>
                      <a:pt x="288162" y="1035050"/>
                      <a:pt x="288162" y="1035050"/>
                    </a:cubicBezTo>
                    <a:close/>
                    <a:moveTo>
                      <a:pt x="1302460" y="871537"/>
                    </a:moveTo>
                    <a:cubicBezTo>
                      <a:pt x="1305339" y="913273"/>
                      <a:pt x="1312537" y="968449"/>
                      <a:pt x="1355725" y="972693"/>
                    </a:cubicBezTo>
                    <a:cubicBezTo>
                      <a:pt x="1337010" y="991792"/>
                      <a:pt x="1318296" y="1002403"/>
                      <a:pt x="1301020" y="1008062"/>
                    </a:cubicBezTo>
                    <a:cubicBezTo>
                      <a:pt x="1275827" y="1005233"/>
                      <a:pt x="1252794" y="1003818"/>
                      <a:pt x="1239837" y="1003110"/>
                    </a:cubicBezTo>
                    <a:cubicBezTo>
                      <a:pt x="1239837" y="1003110"/>
                      <a:pt x="1239837" y="1003110"/>
                      <a:pt x="1239837" y="990378"/>
                    </a:cubicBezTo>
                    <a:cubicBezTo>
                      <a:pt x="1255673" y="971986"/>
                      <a:pt x="1276547" y="932372"/>
                      <a:pt x="1302460" y="871537"/>
                    </a:cubicBezTo>
                    <a:close/>
                    <a:moveTo>
                      <a:pt x="880352" y="869950"/>
                    </a:moveTo>
                    <a:cubicBezTo>
                      <a:pt x="906265" y="931887"/>
                      <a:pt x="927139" y="971755"/>
                      <a:pt x="942975" y="989553"/>
                    </a:cubicBezTo>
                    <a:cubicBezTo>
                      <a:pt x="942975" y="989553"/>
                      <a:pt x="942975" y="989553"/>
                      <a:pt x="942975" y="1003080"/>
                    </a:cubicBezTo>
                    <a:cubicBezTo>
                      <a:pt x="930018" y="1003792"/>
                      <a:pt x="907704" y="1005215"/>
                      <a:pt x="882511" y="1008063"/>
                    </a:cubicBezTo>
                    <a:cubicBezTo>
                      <a:pt x="865236" y="1002368"/>
                      <a:pt x="846521" y="991689"/>
                      <a:pt x="827087" y="972467"/>
                    </a:cubicBezTo>
                    <a:cubicBezTo>
                      <a:pt x="870995" y="968195"/>
                      <a:pt x="878193" y="911954"/>
                      <a:pt x="880352" y="869950"/>
                    </a:cubicBezTo>
                    <a:close/>
                    <a:moveTo>
                      <a:pt x="863600" y="768350"/>
                    </a:moveTo>
                    <a:cubicBezTo>
                      <a:pt x="863600" y="768350"/>
                      <a:pt x="863600" y="768350"/>
                      <a:pt x="901462" y="786177"/>
                    </a:cubicBezTo>
                    <a:cubicBezTo>
                      <a:pt x="905034" y="791882"/>
                      <a:pt x="910034" y="797587"/>
                      <a:pt x="917178" y="801153"/>
                    </a:cubicBezTo>
                    <a:cubicBezTo>
                      <a:pt x="920035" y="802579"/>
                      <a:pt x="922893" y="806144"/>
                      <a:pt x="924322" y="809710"/>
                    </a:cubicBezTo>
                    <a:cubicBezTo>
                      <a:pt x="947896" y="868897"/>
                      <a:pt x="979329" y="938781"/>
                      <a:pt x="990044" y="948765"/>
                    </a:cubicBezTo>
                    <a:cubicBezTo>
                      <a:pt x="1010047" y="965879"/>
                      <a:pt x="1064339" y="1000108"/>
                      <a:pt x="1092200" y="1000108"/>
                    </a:cubicBezTo>
                    <a:cubicBezTo>
                      <a:pt x="1120775" y="1000108"/>
                      <a:pt x="1175067" y="965879"/>
                      <a:pt x="1193641" y="948765"/>
                    </a:cubicBezTo>
                    <a:cubicBezTo>
                      <a:pt x="1205071" y="938781"/>
                      <a:pt x="1236504" y="868897"/>
                      <a:pt x="1260078" y="809710"/>
                    </a:cubicBezTo>
                    <a:cubicBezTo>
                      <a:pt x="1261507" y="806144"/>
                      <a:pt x="1263650" y="802579"/>
                      <a:pt x="1267222" y="801153"/>
                    </a:cubicBezTo>
                    <a:cubicBezTo>
                      <a:pt x="1274366" y="797587"/>
                      <a:pt x="1279366" y="791882"/>
                      <a:pt x="1282938" y="786177"/>
                    </a:cubicBezTo>
                    <a:cubicBezTo>
                      <a:pt x="1282938" y="786177"/>
                      <a:pt x="1282938" y="786177"/>
                      <a:pt x="1320800" y="768350"/>
                    </a:cubicBezTo>
                    <a:cubicBezTo>
                      <a:pt x="1320800" y="769776"/>
                      <a:pt x="1320800" y="770489"/>
                      <a:pt x="1320800" y="771915"/>
                    </a:cubicBezTo>
                    <a:cubicBezTo>
                      <a:pt x="1318657" y="783325"/>
                      <a:pt x="1312228" y="810423"/>
                      <a:pt x="1287225" y="826111"/>
                    </a:cubicBezTo>
                    <a:cubicBezTo>
                      <a:pt x="1272937" y="861766"/>
                      <a:pt x="1235075" y="953757"/>
                      <a:pt x="1215072" y="972297"/>
                    </a:cubicBezTo>
                    <a:cubicBezTo>
                      <a:pt x="1213644" y="973010"/>
                      <a:pt x="1211500" y="974436"/>
                      <a:pt x="1209357" y="976576"/>
                    </a:cubicBezTo>
                    <a:cubicBezTo>
                      <a:pt x="1209357" y="976576"/>
                      <a:pt x="1209357" y="976576"/>
                      <a:pt x="1209357" y="1009378"/>
                    </a:cubicBezTo>
                    <a:cubicBezTo>
                      <a:pt x="1209357" y="1009378"/>
                      <a:pt x="1209357" y="1009378"/>
                      <a:pt x="1208643" y="1010092"/>
                    </a:cubicBezTo>
                    <a:cubicBezTo>
                      <a:pt x="1208643" y="1010092"/>
                      <a:pt x="1196499" y="1020788"/>
                      <a:pt x="1177925" y="1035050"/>
                    </a:cubicBezTo>
                    <a:cubicBezTo>
                      <a:pt x="1177925" y="1035050"/>
                      <a:pt x="1177925" y="1035050"/>
                      <a:pt x="1177925" y="998682"/>
                    </a:cubicBezTo>
                    <a:cubicBezTo>
                      <a:pt x="1152922" y="1015083"/>
                      <a:pt x="1118632" y="1031485"/>
                      <a:pt x="1092200" y="1031485"/>
                    </a:cubicBezTo>
                    <a:cubicBezTo>
                      <a:pt x="1066482" y="1031485"/>
                      <a:pt x="1032192" y="1015083"/>
                      <a:pt x="1005760" y="998682"/>
                    </a:cubicBezTo>
                    <a:cubicBezTo>
                      <a:pt x="1005760" y="998682"/>
                      <a:pt x="1005760" y="998682"/>
                      <a:pt x="1005760" y="1035050"/>
                    </a:cubicBezTo>
                    <a:cubicBezTo>
                      <a:pt x="988615" y="1020788"/>
                      <a:pt x="975757" y="1010805"/>
                      <a:pt x="975757" y="1010092"/>
                    </a:cubicBezTo>
                    <a:cubicBezTo>
                      <a:pt x="975757" y="1010092"/>
                      <a:pt x="975757" y="1010092"/>
                      <a:pt x="974328" y="1009378"/>
                    </a:cubicBezTo>
                    <a:cubicBezTo>
                      <a:pt x="974328" y="1009378"/>
                      <a:pt x="974328" y="1009378"/>
                      <a:pt x="974328" y="975863"/>
                    </a:cubicBezTo>
                    <a:cubicBezTo>
                      <a:pt x="972899" y="974436"/>
                      <a:pt x="970756" y="973010"/>
                      <a:pt x="969327" y="972297"/>
                    </a:cubicBezTo>
                    <a:cubicBezTo>
                      <a:pt x="949325" y="953757"/>
                      <a:pt x="911463" y="861766"/>
                      <a:pt x="897175" y="826111"/>
                    </a:cubicBezTo>
                    <a:cubicBezTo>
                      <a:pt x="873601" y="811136"/>
                      <a:pt x="866457" y="786891"/>
                      <a:pt x="863600" y="773342"/>
                    </a:cubicBezTo>
                    <a:cubicBezTo>
                      <a:pt x="863600" y="771202"/>
                      <a:pt x="863600" y="769776"/>
                      <a:pt x="863600" y="768350"/>
                    </a:cubicBezTo>
                    <a:close/>
                    <a:moveTo>
                      <a:pt x="196850" y="768350"/>
                    </a:moveTo>
                    <a:cubicBezTo>
                      <a:pt x="196850" y="768350"/>
                      <a:pt x="196850" y="768350"/>
                      <a:pt x="234653" y="786267"/>
                    </a:cubicBezTo>
                    <a:cubicBezTo>
                      <a:pt x="238219" y="792000"/>
                      <a:pt x="242498" y="797733"/>
                      <a:pt x="250344" y="801317"/>
                    </a:cubicBezTo>
                    <a:cubicBezTo>
                      <a:pt x="253197" y="802750"/>
                      <a:pt x="256050" y="806333"/>
                      <a:pt x="257477" y="809917"/>
                    </a:cubicBezTo>
                    <a:cubicBezTo>
                      <a:pt x="281014" y="869400"/>
                      <a:pt x="312398" y="939633"/>
                      <a:pt x="323097" y="949667"/>
                    </a:cubicBezTo>
                    <a:cubicBezTo>
                      <a:pt x="343068" y="966867"/>
                      <a:pt x="397276" y="1001267"/>
                      <a:pt x="425093" y="1001267"/>
                    </a:cubicBezTo>
                    <a:cubicBezTo>
                      <a:pt x="453624" y="1001267"/>
                      <a:pt x="507831" y="966867"/>
                      <a:pt x="527089" y="949667"/>
                    </a:cubicBezTo>
                    <a:cubicBezTo>
                      <a:pt x="538502" y="939633"/>
                      <a:pt x="569885" y="869400"/>
                      <a:pt x="593423" y="809917"/>
                    </a:cubicBezTo>
                    <a:cubicBezTo>
                      <a:pt x="594849" y="806333"/>
                      <a:pt x="596989" y="802750"/>
                      <a:pt x="600555" y="801317"/>
                    </a:cubicBezTo>
                    <a:cubicBezTo>
                      <a:pt x="607688" y="797733"/>
                      <a:pt x="612681" y="792000"/>
                      <a:pt x="616247" y="786267"/>
                    </a:cubicBezTo>
                    <a:cubicBezTo>
                      <a:pt x="616247" y="786267"/>
                      <a:pt x="616247" y="786267"/>
                      <a:pt x="654050" y="768350"/>
                    </a:cubicBezTo>
                    <a:cubicBezTo>
                      <a:pt x="654050" y="769783"/>
                      <a:pt x="654050" y="770500"/>
                      <a:pt x="654050" y="771933"/>
                    </a:cubicBezTo>
                    <a:cubicBezTo>
                      <a:pt x="651910" y="783400"/>
                      <a:pt x="645491" y="810633"/>
                      <a:pt x="620527" y="826400"/>
                    </a:cubicBezTo>
                    <a:cubicBezTo>
                      <a:pt x="606261" y="862233"/>
                      <a:pt x="568459" y="954683"/>
                      <a:pt x="548487" y="973317"/>
                    </a:cubicBezTo>
                    <a:cubicBezTo>
                      <a:pt x="547061" y="974033"/>
                      <a:pt x="544921" y="975467"/>
                      <a:pt x="543494" y="976900"/>
                    </a:cubicBezTo>
                    <a:cubicBezTo>
                      <a:pt x="543494" y="976900"/>
                      <a:pt x="543494" y="976900"/>
                      <a:pt x="543494" y="1008433"/>
                    </a:cubicBezTo>
                    <a:cubicBezTo>
                      <a:pt x="543494" y="1008433"/>
                      <a:pt x="543494" y="1008433"/>
                      <a:pt x="536362" y="1017033"/>
                    </a:cubicBezTo>
                    <a:cubicBezTo>
                      <a:pt x="536362" y="1017750"/>
                      <a:pt x="528516" y="1029217"/>
                      <a:pt x="512111" y="1041400"/>
                    </a:cubicBezTo>
                    <a:cubicBezTo>
                      <a:pt x="512111" y="1041400"/>
                      <a:pt x="512111" y="1041400"/>
                      <a:pt x="512111" y="999833"/>
                    </a:cubicBezTo>
                    <a:cubicBezTo>
                      <a:pt x="485720" y="1016317"/>
                      <a:pt x="451484" y="1032800"/>
                      <a:pt x="425093" y="1032800"/>
                    </a:cubicBezTo>
                    <a:cubicBezTo>
                      <a:pt x="399416" y="1032800"/>
                      <a:pt x="365179" y="1016317"/>
                      <a:pt x="339502" y="999833"/>
                    </a:cubicBezTo>
                    <a:cubicBezTo>
                      <a:pt x="339502" y="999833"/>
                      <a:pt x="339502" y="999833"/>
                      <a:pt x="339502" y="1041400"/>
                    </a:cubicBezTo>
                    <a:cubicBezTo>
                      <a:pt x="323097" y="1029217"/>
                      <a:pt x="315251" y="1018467"/>
                      <a:pt x="314538" y="1017033"/>
                    </a:cubicBezTo>
                    <a:cubicBezTo>
                      <a:pt x="314538" y="1017033"/>
                      <a:pt x="314538" y="1017033"/>
                      <a:pt x="308118" y="1008433"/>
                    </a:cubicBezTo>
                    <a:cubicBezTo>
                      <a:pt x="308118" y="1008433"/>
                      <a:pt x="308118" y="1008433"/>
                      <a:pt x="308118" y="977617"/>
                    </a:cubicBezTo>
                    <a:cubicBezTo>
                      <a:pt x="305979" y="975467"/>
                      <a:pt x="303839" y="974033"/>
                      <a:pt x="302412" y="973317"/>
                    </a:cubicBezTo>
                    <a:cubicBezTo>
                      <a:pt x="282441" y="954683"/>
                      <a:pt x="244638" y="862233"/>
                      <a:pt x="230373" y="826400"/>
                    </a:cubicBezTo>
                    <a:cubicBezTo>
                      <a:pt x="206835" y="811350"/>
                      <a:pt x="199703" y="786983"/>
                      <a:pt x="196850" y="773367"/>
                    </a:cubicBezTo>
                    <a:cubicBezTo>
                      <a:pt x="196850" y="771217"/>
                      <a:pt x="196850" y="769783"/>
                      <a:pt x="196850" y="768350"/>
                    </a:cubicBezTo>
                    <a:close/>
                    <a:moveTo>
                      <a:pt x="1091126" y="431800"/>
                    </a:moveTo>
                    <a:cubicBezTo>
                      <a:pt x="1217104" y="431800"/>
                      <a:pt x="1313734" y="532598"/>
                      <a:pt x="1313734" y="656987"/>
                    </a:cubicBezTo>
                    <a:cubicBezTo>
                      <a:pt x="1313734" y="684152"/>
                      <a:pt x="1314450" y="709888"/>
                      <a:pt x="1305861" y="733479"/>
                    </a:cubicBezTo>
                    <a:cubicBezTo>
                      <a:pt x="1305861" y="732764"/>
                      <a:pt x="1305861" y="732764"/>
                      <a:pt x="1305861" y="732764"/>
                    </a:cubicBezTo>
                    <a:cubicBezTo>
                      <a:pt x="1305145" y="733479"/>
                      <a:pt x="1301566" y="744202"/>
                      <a:pt x="1281524" y="767793"/>
                    </a:cubicBezTo>
                    <a:cubicBezTo>
                      <a:pt x="1280809" y="768508"/>
                      <a:pt x="1280093" y="768508"/>
                      <a:pt x="1279377" y="768508"/>
                    </a:cubicBezTo>
                    <a:cubicBezTo>
                      <a:pt x="1265061" y="768508"/>
                      <a:pt x="1265061" y="768508"/>
                      <a:pt x="1265061" y="768508"/>
                    </a:cubicBezTo>
                    <a:cubicBezTo>
                      <a:pt x="1264346" y="768508"/>
                      <a:pt x="1264346" y="768508"/>
                      <a:pt x="1263630" y="768508"/>
                    </a:cubicBezTo>
                    <a:cubicBezTo>
                      <a:pt x="971591" y="612664"/>
                      <a:pt x="971591" y="612664"/>
                      <a:pt x="971591" y="612664"/>
                    </a:cubicBezTo>
                    <a:cubicBezTo>
                      <a:pt x="970875" y="612664"/>
                      <a:pt x="969443" y="612664"/>
                      <a:pt x="968728" y="612664"/>
                    </a:cubicBezTo>
                    <a:cubicBezTo>
                      <a:pt x="903591" y="634111"/>
                      <a:pt x="904307" y="769938"/>
                      <a:pt x="882118" y="749921"/>
                    </a:cubicBezTo>
                    <a:cubicBezTo>
                      <a:pt x="882118" y="749206"/>
                      <a:pt x="882118" y="749206"/>
                      <a:pt x="882118" y="749206"/>
                    </a:cubicBezTo>
                    <a:cubicBezTo>
                      <a:pt x="872813" y="724900"/>
                      <a:pt x="869950" y="684867"/>
                      <a:pt x="869950" y="656987"/>
                    </a:cubicBezTo>
                    <a:cubicBezTo>
                      <a:pt x="869950" y="532598"/>
                      <a:pt x="966580" y="431800"/>
                      <a:pt x="1091126" y="431800"/>
                    </a:cubicBezTo>
                    <a:close/>
                    <a:moveTo>
                      <a:pt x="425450" y="431800"/>
                    </a:moveTo>
                    <a:cubicBezTo>
                      <a:pt x="550913" y="431800"/>
                      <a:pt x="646983" y="533574"/>
                      <a:pt x="646983" y="659000"/>
                    </a:cubicBezTo>
                    <a:cubicBezTo>
                      <a:pt x="646983" y="686235"/>
                      <a:pt x="647700" y="712037"/>
                      <a:pt x="639097" y="735689"/>
                    </a:cubicBezTo>
                    <a:cubicBezTo>
                      <a:pt x="638380" y="735689"/>
                      <a:pt x="634795" y="747156"/>
                      <a:pt x="614004" y="771525"/>
                    </a:cubicBezTo>
                    <a:cubicBezTo>
                      <a:pt x="614004" y="771525"/>
                      <a:pt x="614004" y="771525"/>
                      <a:pt x="597514" y="771525"/>
                    </a:cubicBezTo>
                    <a:cubicBezTo>
                      <a:pt x="597514" y="771525"/>
                      <a:pt x="597514" y="762924"/>
                      <a:pt x="595363" y="603813"/>
                    </a:cubicBezTo>
                    <a:cubicBezTo>
                      <a:pt x="570271" y="731389"/>
                      <a:pt x="303571" y="613847"/>
                      <a:pt x="303571" y="613847"/>
                    </a:cubicBezTo>
                    <a:cubicBezTo>
                      <a:pt x="236896" y="634631"/>
                      <a:pt x="249084" y="768658"/>
                      <a:pt x="249084" y="768658"/>
                    </a:cubicBezTo>
                    <a:cubicBezTo>
                      <a:pt x="249084" y="768658"/>
                      <a:pt x="249084" y="768658"/>
                      <a:pt x="234028" y="766508"/>
                    </a:cubicBezTo>
                    <a:cubicBezTo>
                      <a:pt x="234028" y="766508"/>
                      <a:pt x="234028" y="758624"/>
                      <a:pt x="211803" y="738556"/>
                    </a:cubicBezTo>
                    <a:cubicBezTo>
                      <a:pt x="211803" y="738556"/>
                      <a:pt x="211803" y="738556"/>
                      <a:pt x="211803" y="737839"/>
                    </a:cubicBezTo>
                    <a:cubicBezTo>
                      <a:pt x="203200" y="713471"/>
                      <a:pt x="203200" y="686952"/>
                      <a:pt x="203200" y="659000"/>
                    </a:cubicBezTo>
                    <a:cubicBezTo>
                      <a:pt x="203200" y="533574"/>
                      <a:pt x="299269" y="431800"/>
                      <a:pt x="425450" y="431800"/>
                    </a:cubicBezTo>
                    <a:close/>
                    <a:moveTo>
                      <a:pt x="1351838" y="417512"/>
                    </a:moveTo>
                    <a:cubicBezTo>
                      <a:pt x="1397383" y="417512"/>
                      <a:pt x="1440793" y="437398"/>
                      <a:pt x="1470682" y="472908"/>
                    </a:cubicBezTo>
                    <a:cubicBezTo>
                      <a:pt x="1476375" y="479299"/>
                      <a:pt x="1475664" y="489242"/>
                      <a:pt x="1468547" y="494924"/>
                    </a:cubicBezTo>
                    <a:cubicBezTo>
                      <a:pt x="1465701" y="497054"/>
                      <a:pt x="1462142" y="498475"/>
                      <a:pt x="1458584" y="498475"/>
                    </a:cubicBezTo>
                    <a:cubicBezTo>
                      <a:pt x="1454314" y="498475"/>
                      <a:pt x="1450045" y="496344"/>
                      <a:pt x="1446486" y="492793"/>
                    </a:cubicBezTo>
                    <a:cubicBezTo>
                      <a:pt x="1423002" y="465095"/>
                      <a:pt x="1388132" y="448761"/>
                      <a:pt x="1351838" y="448761"/>
                    </a:cubicBezTo>
                    <a:cubicBezTo>
                      <a:pt x="1322661" y="448761"/>
                      <a:pt x="1294907" y="458704"/>
                      <a:pt x="1272135" y="477169"/>
                    </a:cubicBezTo>
                    <a:cubicBezTo>
                      <a:pt x="1272135" y="477169"/>
                      <a:pt x="1272135" y="477169"/>
                      <a:pt x="1272135" y="476459"/>
                    </a:cubicBezTo>
                    <a:cubicBezTo>
                      <a:pt x="1265018" y="469357"/>
                      <a:pt x="1257190" y="462255"/>
                      <a:pt x="1249362" y="455863"/>
                    </a:cubicBezTo>
                    <a:cubicBezTo>
                      <a:pt x="1277116" y="431006"/>
                      <a:pt x="1313410" y="417512"/>
                      <a:pt x="1351838" y="417512"/>
                    </a:cubicBezTo>
                    <a:close/>
                    <a:moveTo>
                      <a:pt x="759619" y="417512"/>
                    </a:moveTo>
                    <a:cubicBezTo>
                      <a:pt x="805906" y="417512"/>
                      <a:pt x="849344" y="437647"/>
                      <a:pt x="878541" y="473604"/>
                    </a:cubicBezTo>
                    <a:cubicBezTo>
                      <a:pt x="884238" y="480076"/>
                      <a:pt x="883526" y="490144"/>
                      <a:pt x="877117" y="495897"/>
                    </a:cubicBezTo>
                    <a:cubicBezTo>
                      <a:pt x="874268" y="498054"/>
                      <a:pt x="870708" y="499492"/>
                      <a:pt x="867147" y="499492"/>
                    </a:cubicBezTo>
                    <a:cubicBezTo>
                      <a:pt x="862162" y="499492"/>
                      <a:pt x="857890" y="497335"/>
                      <a:pt x="855041" y="493739"/>
                    </a:cubicBezTo>
                    <a:cubicBezTo>
                      <a:pt x="830830" y="465693"/>
                      <a:pt x="796648" y="449154"/>
                      <a:pt x="759619" y="449154"/>
                    </a:cubicBezTo>
                    <a:cubicBezTo>
                      <a:pt x="722589" y="449154"/>
                      <a:pt x="688408" y="465693"/>
                      <a:pt x="664196" y="493739"/>
                    </a:cubicBezTo>
                    <a:cubicBezTo>
                      <a:pt x="658499" y="500212"/>
                      <a:pt x="649242" y="501650"/>
                      <a:pt x="642121" y="495897"/>
                    </a:cubicBezTo>
                    <a:cubicBezTo>
                      <a:pt x="635712" y="490144"/>
                      <a:pt x="635000" y="480076"/>
                      <a:pt x="640697" y="473604"/>
                    </a:cubicBezTo>
                    <a:cubicBezTo>
                      <a:pt x="669893" y="437647"/>
                      <a:pt x="713332" y="417512"/>
                      <a:pt x="759619" y="417512"/>
                    </a:cubicBezTo>
                    <a:close/>
                    <a:moveTo>
                      <a:pt x="165812" y="417512"/>
                    </a:moveTo>
                    <a:cubicBezTo>
                      <a:pt x="204240" y="417512"/>
                      <a:pt x="240534" y="431175"/>
                      <a:pt x="268288" y="456345"/>
                    </a:cubicBezTo>
                    <a:cubicBezTo>
                      <a:pt x="260460" y="462817"/>
                      <a:pt x="252632" y="470008"/>
                      <a:pt x="244804" y="477200"/>
                    </a:cubicBezTo>
                    <a:cubicBezTo>
                      <a:pt x="222743" y="459221"/>
                      <a:pt x="194989" y="449154"/>
                      <a:pt x="165812" y="449154"/>
                    </a:cubicBezTo>
                    <a:cubicBezTo>
                      <a:pt x="129518" y="449154"/>
                      <a:pt x="94648" y="465693"/>
                      <a:pt x="71164" y="493739"/>
                    </a:cubicBezTo>
                    <a:cubicBezTo>
                      <a:pt x="65470" y="500212"/>
                      <a:pt x="55508" y="501650"/>
                      <a:pt x="49103" y="495897"/>
                    </a:cubicBezTo>
                    <a:cubicBezTo>
                      <a:pt x="41986" y="490144"/>
                      <a:pt x="41275" y="480076"/>
                      <a:pt x="46968" y="473604"/>
                    </a:cubicBezTo>
                    <a:cubicBezTo>
                      <a:pt x="76857" y="437647"/>
                      <a:pt x="120267" y="417512"/>
                      <a:pt x="165812" y="417512"/>
                    </a:cubicBezTo>
                    <a:close/>
                    <a:moveTo>
                      <a:pt x="1260912" y="277812"/>
                    </a:moveTo>
                    <a:cubicBezTo>
                      <a:pt x="1307332" y="277812"/>
                      <a:pt x="1350895" y="298667"/>
                      <a:pt x="1380889" y="333904"/>
                    </a:cubicBezTo>
                    <a:cubicBezTo>
                      <a:pt x="1385888" y="341095"/>
                      <a:pt x="1385174" y="351163"/>
                      <a:pt x="1378747" y="356197"/>
                    </a:cubicBezTo>
                    <a:cubicBezTo>
                      <a:pt x="1375890" y="359073"/>
                      <a:pt x="1372319" y="359792"/>
                      <a:pt x="1368749" y="359792"/>
                    </a:cubicBezTo>
                    <a:cubicBezTo>
                      <a:pt x="1364464" y="359792"/>
                      <a:pt x="1359465" y="358354"/>
                      <a:pt x="1356608" y="354759"/>
                    </a:cubicBezTo>
                    <a:cubicBezTo>
                      <a:pt x="1333041" y="325993"/>
                      <a:pt x="1298048" y="309454"/>
                      <a:pt x="1260912" y="309454"/>
                    </a:cubicBezTo>
                    <a:cubicBezTo>
                      <a:pt x="1223776" y="309454"/>
                      <a:pt x="1189497" y="325993"/>
                      <a:pt x="1165930" y="354759"/>
                    </a:cubicBezTo>
                    <a:cubicBezTo>
                      <a:pt x="1160931" y="361231"/>
                      <a:pt x="1150933" y="361950"/>
                      <a:pt x="1143791" y="356197"/>
                    </a:cubicBezTo>
                    <a:cubicBezTo>
                      <a:pt x="1137364" y="351163"/>
                      <a:pt x="1136650" y="341095"/>
                      <a:pt x="1142363" y="333904"/>
                    </a:cubicBezTo>
                    <a:cubicBezTo>
                      <a:pt x="1171643" y="298667"/>
                      <a:pt x="1214492" y="277812"/>
                      <a:pt x="1260912" y="277812"/>
                    </a:cubicBezTo>
                    <a:close/>
                    <a:moveTo>
                      <a:pt x="926306" y="277812"/>
                    </a:moveTo>
                    <a:cubicBezTo>
                      <a:pt x="972593" y="277812"/>
                      <a:pt x="1016031" y="298667"/>
                      <a:pt x="1045940" y="333904"/>
                    </a:cubicBezTo>
                    <a:cubicBezTo>
                      <a:pt x="1050925" y="341095"/>
                      <a:pt x="1050213" y="351163"/>
                      <a:pt x="1043804" y="356197"/>
                    </a:cubicBezTo>
                    <a:cubicBezTo>
                      <a:pt x="1040955" y="359073"/>
                      <a:pt x="1037395" y="359792"/>
                      <a:pt x="1033834" y="359792"/>
                    </a:cubicBezTo>
                    <a:cubicBezTo>
                      <a:pt x="1028849" y="359792"/>
                      <a:pt x="1024577" y="358354"/>
                      <a:pt x="1021728" y="354759"/>
                    </a:cubicBezTo>
                    <a:cubicBezTo>
                      <a:pt x="998229" y="325993"/>
                      <a:pt x="963335" y="309454"/>
                      <a:pt x="926306" y="309454"/>
                    </a:cubicBezTo>
                    <a:cubicBezTo>
                      <a:pt x="889276" y="309454"/>
                      <a:pt x="855095" y="325993"/>
                      <a:pt x="830883" y="354759"/>
                    </a:cubicBezTo>
                    <a:cubicBezTo>
                      <a:pt x="825186" y="361231"/>
                      <a:pt x="815929" y="361950"/>
                      <a:pt x="808808" y="356197"/>
                    </a:cubicBezTo>
                    <a:cubicBezTo>
                      <a:pt x="802399" y="351163"/>
                      <a:pt x="801687" y="341095"/>
                      <a:pt x="807384" y="333904"/>
                    </a:cubicBezTo>
                    <a:cubicBezTo>
                      <a:pt x="836580" y="298667"/>
                      <a:pt x="880019" y="277812"/>
                      <a:pt x="926306" y="277812"/>
                    </a:cubicBezTo>
                    <a:close/>
                    <a:moveTo>
                      <a:pt x="592137" y="277812"/>
                    </a:moveTo>
                    <a:cubicBezTo>
                      <a:pt x="638719" y="277812"/>
                      <a:pt x="682434" y="298667"/>
                      <a:pt x="711817" y="333904"/>
                    </a:cubicBezTo>
                    <a:cubicBezTo>
                      <a:pt x="717550" y="341095"/>
                      <a:pt x="716833" y="351163"/>
                      <a:pt x="710383" y="356197"/>
                    </a:cubicBezTo>
                    <a:cubicBezTo>
                      <a:pt x="707517" y="359073"/>
                      <a:pt x="703934" y="359792"/>
                      <a:pt x="700350" y="359792"/>
                    </a:cubicBezTo>
                    <a:cubicBezTo>
                      <a:pt x="695334" y="359792"/>
                      <a:pt x="691034" y="358354"/>
                      <a:pt x="688167" y="354759"/>
                    </a:cubicBezTo>
                    <a:cubicBezTo>
                      <a:pt x="663802" y="325993"/>
                      <a:pt x="629403" y="309454"/>
                      <a:pt x="592137" y="309454"/>
                    </a:cubicBezTo>
                    <a:cubicBezTo>
                      <a:pt x="554872" y="309454"/>
                      <a:pt x="519756" y="325993"/>
                      <a:pt x="496107" y="354759"/>
                    </a:cubicBezTo>
                    <a:cubicBezTo>
                      <a:pt x="490374" y="361231"/>
                      <a:pt x="480341" y="361950"/>
                      <a:pt x="473891" y="356197"/>
                    </a:cubicBezTo>
                    <a:cubicBezTo>
                      <a:pt x="467441" y="351163"/>
                      <a:pt x="466725" y="341095"/>
                      <a:pt x="471741" y="333904"/>
                    </a:cubicBezTo>
                    <a:cubicBezTo>
                      <a:pt x="501840" y="298667"/>
                      <a:pt x="545555" y="277812"/>
                      <a:pt x="592137" y="277812"/>
                    </a:cubicBezTo>
                    <a:close/>
                    <a:moveTo>
                      <a:pt x="257174" y="277812"/>
                    </a:moveTo>
                    <a:cubicBezTo>
                      <a:pt x="303756" y="277812"/>
                      <a:pt x="347471" y="298667"/>
                      <a:pt x="376854" y="333904"/>
                    </a:cubicBezTo>
                    <a:cubicBezTo>
                      <a:pt x="382587" y="341095"/>
                      <a:pt x="381870" y="351163"/>
                      <a:pt x="375420" y="356197"/>
                    </a:cubicBezTo>
                    <a:cubicBezTo>
                      <a:pt x="372554" y="359073"/>
                      <a:pt x="368254" y="359792"/>
                      <a:pt x="365387" y="359792"/>
                    </a:cubicBezTo>
                    <a:cubicBezTo>
                      <a:pt x="360371" y="359792"/>
                      <a:pt x="356071" y="358354"/>
                      <a:pt x="353204" y="354759"/>
                    </a:cubicBezTo>
                    <a:cubicBezTo>
                      <a:pt x="328839" y="325993"/>
                      <a:pt x="294440" y="309454"/>
                      <a:pt x="257174" y="309454"/>
                    </a:cubicBezTo>
                    <a:cubicBezTo>
                      <a:pt x="219909" y="309454"/>
                      <a:pt x="184793" y="325993"/>
                      <a:pt x="161144" y="354759"/>
                    </a:cubicBezTo>
                    <a:cubicBezTo>
                      <a:pt x="155411" y="361231"/>
                      <a:pt x="145378" y="361950"/>
                      <a:pt x="138928" y="356197"/>
                    </a:cubicBezTo>
                    <a:cubicBezTo>
                      <a:pt x="132478" y="351163"/>
                      <a:pt x="131762" y="341095"/>
                      <a:pt x="136778" y="333904"/>
                    </a:cubicBezTo>
                    <a:cubicBezTo>
                      <a:pt x="166877" y="298667"/>
                      <a:pt x="210592" y="277812"/>
                      <a:pt x="257174" y="277812"/>
                    </a:cubicBezTo>
                    <a:close/>
                    <a:moveTo>
                      <a:pt x="1093351" y="139700"/>
                    </a:moveTo>
                    <a:cubicBezTo>
                      <a:pt x="1139771" y="139700"/>
                      <a:pt x="1182619" y="159665"/>
                      <a:pt x="1212614" y="196030"/>
                    </a:cubicBezTo>
                    <a:cubicBezTo>
                      <a:pt x="1217613" y="202447"/>
                      <a:pt x="1216899" y="212429"/>
                      <a:pt x="1210471" y="218134"/>
                    </a:cubicBezTo>
                    <a:cubicBezTo>
                      <a:pt x="1207615" y="220273"/>
                      <a:pt x="1204044" y="221699"/>
                      <a:pt x="1200473" y="221699"/>
                    </a:cubicBezTo>
                    <a:cubicBezTo>
                      <a:pt x="1195474" y="221699"/>
                      <a:pt x="1191189" y="219560"/>
                      <a:pt x="1188333" y="215994"/>
                    </a:cubicBezTo>
                    <a:cubicBezTo>
                      <a:pt x="1165480" y="188186"/>
                      <a:pt x="1130487" y="171786"/>
                      <a:pt x="1093351" y="171786"/>
                    </a:cubicBezTo>
                    <a:cubicBezTo>
                      <a:pt x="1056215" y="171786"/>
                      <a:pt x="1021936" y="188186"/>
                      <a:pt x="997655" y="215994"/>
                    </a:cubicBezTo>
                    <a:cubicBezTo>
                      <a:pt x="991942" y="222412"/>
                      <a:pt x="982658" y="223838"/>
                      <a:pt x="975516" y="218134"/>
                    </a:cubicBezTo>
                    <a:cubicBezTo>
                      <a:pt x="969089" y="212429"/>
                      <a:pt x="968375" y="202447"/>
                      <a:pt x="974088" y="196030"/>
                    </a:cubicBezTo>
                    <a:cubicBezTo>
                      <a:pt x="1003368" y="159665"/>
                      <a:pt x="1046931" y="139700"/>
                      <a:pt x="1093351" y="139700"/>
                    </a:cubicBezTo>
                    <a:close/>
                    <a:moveTo>
                      <a:pt x="759619" y="139700"/>
                    </a:moveTo>
                    <a:cubicBezTo>
                      <a:pt x="805906" y="139700"/>
                      <a:pt x="849344" y="159665"/>
                      <a:pt x="878541" y="196030"/>
                    </a:cubicBezTo>
                    <a:cubicBezTo>
                      <a:pt x="884238" y="202447"/>
                      <a:pt x="883526" y="212429"/>
                      <a:pt x="877117" y="218134"/>
                    </a:cubicBezTo>
                    <a:cubicBezTo>
                      <a:pt x="874268" y="220273"/>
                      <a:pt x="870708" y="221699"/>
                      <a:pt x="867147" y="221699"/>
                    </a:cubicBezTo>
                    <a:cubicBezTo>
                      <a:pt x="862162" y="221699"/>
                      <a:pt x="857890" y="219560"/>
                      <a:pt x="855041" y="215994"/>
                    </a:cubicBezTo>
                    <a:cubicBezTo>
                      <a:pt x="830830" y="188186"/>
                      <a:pt x="796648" y="171786"/>
                      <a:pt x="759619" y="171786"/>
                    </a:cubicBezTo>
                    <a:cubicBezTo>
                      <a:pt x="722589" y="171786"/>
                      <a:pt x="688408" y="188186"/>
                      <a:pt x="664196" y="215994"/>
                    </a:cubicBezTo>
                    <a:cubicBezTo>
                      <a:pt x="658499" y="222412"/>
                      <a:pt x="649242" y="223838"/>
                      <a:pt x="642121" y="218134"/>
                    </a:cubicBezTo>
                    <a:cubicBezTo>
                      <a:pt x="635712" y="212429"/>
                      <a:pt x="635000" y="202447"/>
                      <a:pt x="640697" y="196030"/>
                    </a:cubicBezTo>
                    <a:cubicBezTo>
                      <a:pt x="669893" y="159665"/>
                      <a:pt x="713332" y="139700"/>
                      <a:pt x="759619" y="139700"/>
                    </a:cubicBezTo>
                    <a:close/>
                    <a:moveTo>
                      <a:pt x="424656" y="139700"/>
                    </a:moveTo>
                    <a:cubicBezTo>
                      <a:pt x="470943" y="139700"/>
                      <a:pt x="514381" y="159665"/>
                      <a:pt x="543578" y="196030"/>
                    </a:cubicBezTo>
                    <a:cubicBezTo>
                      <a:pt x="549275" y="202447"/>
                      <a:pt x="548563" y="212429"/>
                      <a:pt x="542154" y="218134"/>
                    </a:cubicBezTo>
                    <a:cubicBezTo>
                      <a:pt x="539305" y="220273"/>
                      <a:pt x="535745" y="221699"/>
                      <a:pt x="532184" y="221699"/>
                    </a:cubicBezTo>
                    <a:cubicBezTo>
                      <a:pt x="527199" y="221699"/>
                      <a:pt x="522927" y="219560"/>
                      <a:pt x="520078" y="215994"/>
                    </a:cubicBezTo>
                    <a:cubicBezTo>
                      <a:pt x="495867" y="188186"/>
                      <a:pt x="461685" y="171786"/>
                      <a:pt x="424656" y="171786"/>
                    </a:cubicBezTo>
                    <a:cubicBezTo>
                      <a:pt x="387626" y="171786"/>
                      <a:pt x="352733" y="188186"/>
                      <a:pt x="329233" y="215994"/>
                    </a:cubicBezTo>
                    <a:cubicBezTo>
                      <a:pt x="323536" y="222412"/>
                      <a:pt x="313567" y="223838"/>
                      <a:pt x="307158" y="218134"/>
                    </a:cubicBezTo>
                    <a:cubicBezTo>
                      <a:pt x="300749" y="212429"/>
                      <a:pt x="300037" y="202447"/>
                      <a:pt x="305022" y="196030"/>
                    </a:cubicBezTo>
                    <a:cubicBezTo>
                      <a:pt x="334930" y="159665"/>
                      <a:pt x="378369" y="139700"/>
                      <a:pt x="424656" y="139700"/>
                    </a:cubicBezTo>
                    <a:close/>
                    <a:moveTo>
                      <a:pt x="926306" y="0"/>
                    </a:moveTo>
                    <a:cubicBezTo>
                      <a:pt x="972593" y="0"/>
                      <a:pt x="1016031" y="20855"/>
                      <a:pt x="1045940" y="56092"/>
                    </a:cubicBezTo>
                    <a:cubicBezTo>
                      <a:pt x="1050925" y="63283"/>
                      <a:pt x="1050213" y="72632"/>
                      <a:pt x="1043804" y="78385"/>
                    </a:cubicBezTo>
                    <a:cubicBezTo>
                      <a:pt x="1040955" y="81261"/>
                      <a:pt x="1037395" y="81980"/>
                      <a:pt x="1033834" y="81980"/>
                    </a:cubicBezTo>
                    <a:cubicBezTo>
                      <a:pt x="1028849" y="81980"/>
                      <a:pt x="1024577" y="80542"/>
                      <a:pt x="1021728" y="76947"/>
                    </a:cubicBezTo>
                    <a:cubicBezTo>
                      <a:pt x="998229" y="48181"/>
                      <a:pt x="963335" y="31642"/>
                      <a:pt x="926306" y="31642"/>
                    </a:cubicBezTo>
                    <a:cubicBezTo>
                      <a:pt x="889276" y="31642"/>
                      <a:pt x="855095" y="48181"/>
                      <a:pt x="830883" y="76947"/>
                    </a:cubicBezTo>
                    <a:cubicBezTo>
                      <a:pt x="825186" y="83419"/>
                      <a:pt x="815929" y="84138"/>
                      <a:pt x="808808" y="78385"/>
                    </a:cubicBezTo>
                    <a:cubicBezTo>
                      <a:pt x="802399" y="72632"/>
                      <a:pt x="801687" y="63283"/>
                      <a:pt x="807384" y="56092"/>
                    </a:cubicBezTo>
                    <a:cubicBezTo>
                      <a:pt x="836580" y="20855"/>
                      <a:pt x="880019" y="0"/>
                      <a:pt x="926306" y="0"/>
                    </a:cubicBezTo>
                    <a:close/>
                    <a:moveTo>
                      <a:pt x="592137" y="0"/>
                    </a:moveTo>
                    <a:cubicBezTo>
                      <a:pt x="638719" y="0"/>
                      <a:pt x="682434" y="20855"/>
                      <a:pt x="711817" y="56092"/>
                    </a:cubicBezTo>
                    <a:cubicBezTo>
                      <a:pt x="717550" y="63283"/>
                      <a:pt x="716833" y="72632"/>
                      <a:pt x="710383" y="78385"/>
                    </a:cubicBezTo>
                    <a:cubicBezTo>
                      <a:pt x="707517" y="81261"/>
                      <a:pt x="703934" y="81980"/>
                      <a:pt x="700350" y="81980"/>
                    </a:cubicBezTo>
                    <a:cubicBezTo>
                      <a:pt x="695334" y="81980"/>
                      <a:pt x="691034" y="80542"/>
                      <a:pt x="688167" y="76947"/>
                    </a:cubicBezTo>
                    <a:cubicBezTo>
                      <a:pt x="663802" y="48181"/>
                      <a:pt x="629403" y="31642"/>
                      <a:pt x="592137" y="31642"/>
                    </a:cubicBezTo>
                    <a:cubicBezTo>
                      <a:pt x="554872" y="31642"/>
                      <a:pt x="519756" y="48181"/>
                      <a:pt x="496107" y="76947"/>
                    </a:cubicBezTo>
                    <a:cubicBezTo>
                      <a:pt x="490374" y="83419"/>
                      <a:pt x="480341" y="84138"/>
                      <a:pt x="473891" y="78385"/>
                    </a:cubicBezTo>
                    <a:cubicBezTo>
                      <a:pt x="467441" y="72632"/>
                      <a:pt x="466725" y="63283"/>
                      <a:pt x="471741" y="56092"/>
                    </a:cubicBezTo>
                    <a:cubicBezTo>
                      <a:pt x="501840" y="20855"/>
                      <a:pt x="545555" y="0"/>
                      <a:pt x="592137"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200" b="0" i="0" u="none" strike="noStrike" kern="120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grpSp>
        <p:grpSp>
          <p:nvGrpSpPr>
            <p:cNvPr id="29" name="Group 36">
              <a:extLst>
                <a:ext uri="{FF2B5EF4-FFF2-40B4-BE49-F238E27FC236}">
                  <a16:creationId xmlns:a16="http://schemas.microsoft.com/office/drawing/2014/main" id="{AEC3A1E7-D7FD-0499-9F50-60AF6204B352}"/>
                </a:ext>
              </a:extLst>
            </p:cNvPr>
            <p:cNvGrpSpPr>
              <a:grpSpLocks noChangeAspect="1"/>
            </p:cNvGrpSpPr>
            <p:nvPr/>
          </p:nvGrpSpPr>
          <p:grpSpPr bwMode="auto">
            <a:xfrm>
              <a:off x="11302071" y="2146635"/>
              <a:ext cx="569988" cy="569988"/>
              <a:chOff x="12189858" y="-574"/>
              <a:chExt cx="1036" cy="1036"/>
            </a:xfrm>
          </p:grpSpPr>
          <p:sp>
            <p:nvSpPr>
              <p:cNvPr id="30" name="AutoShape 35">
                <a:extLst>
                  <a:ext uri="{FF2B5EF4-FFF2-40B4-BE49-F238E27FC236}">
                    <a16:creationId xmlns:a16="http://schemas.microsoft.com/office/drawing/2014/main" id="{F5DA3741-5AF1-7111-F220-AB1367668B3F}"/>
                  </a:ext>
                </a:extLst>
              </p:cNvPr>
              <p:cNvSpPr>
                <a:spLocks noChangeAspect="1" noChangeArrowheads="1" noTextEdit="1"/>
              </p:cNvSpPr>
              <p:nvPr/>
            </p:nvSpPr>
            <p:spPr bwMode="auto">
              <a:xfrm flipH="1">
                <a:off x="12189858" y="-574"/>
                <a:ext cx="1036" cy="1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1800" b="0" i="0" u="none" strike="noStrike" kern="1200" cap="none" spc="0" normalizeH="0" baseline="0" noProof="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Freeform 37">
                <a:extLst>
                  <a:ext uri="{FF2B5EF4-FFF2-40B4-BE49-F238E27FC236}">
                    <a16:creationId xmlns:a16="http://schemas.microsoft.com/office/drawing/2014/main" id="{D85DA6D8-7CC5-E1F0-92E5-EB482F9F7949}"/>
                  </a:ext>
                </a:extLst>
              </p:cNvPr>
              <p:cNvSpPr>
                <a:spLocks noEditPoints="1"/>
              </p:cNvSpPr>
              <p:nvPr/>
            </p:nvSpPr>
            <p:spPr bwMode="auto">
              <a:xfrm>
                <a:off x="12189962" y="-449"/>
                <a:ext cx="827" cy="787"/>
              </a:xfrm>
              <a:custGeom>
                <a:avLst/>
                <a:gdLst>
                  <a:gd name="T0" fmla="*/ 153 w 1840"/>
                  <a:gd name="T1" fmla="*/ 651 h 1750"/>
                  <a:gd name="T2" fmla="*/ 263 w 1840"/>
                  <a:gd name="T3" fmla="*/ 497 h 1750"/>
                  <a:gd name="T4" fmla="*/ 198 w 1840"/>
                  <a:gd name="T5" fmla="*/ 690 h 1750"/>
                  <a:gd name="T6" fmla="*/ 1062 w 1840"/>
                  <a:gd name="T7" fmla="*/ 886 h 1750"/>
                  <a:gd name="T8" fmla="*/ 1062 w 1840"/>
                  <a:gd name="T9" fmla="*/ 886 h 1750"/>
                  <a:gd name="T10" fmla="*/ 710 w 1840"/>
                  <a:gd name="T11" fmla="*/ 116 h 1750"/>
                  <a:gd name="T12" fmla="*/ 824 w 1840"/>
                  <a:gd name="T13" fmla="*/ 186 h 1750"/>
                  <a:gd name="T14" fmla="*/ 275 w 1840"/>
                  <a:gd name="T15" fmla="*/ 1456 h 1750"/>
                  <a:gd name="T16" fmla="*/ 802 w 1840"/>
                  <a:gd name="T17" fmla="*/ 273 h 1750"/>
                  <a:gd name="T18" fmla="*/ 824 w 1840"/>
                  <a:gd name="T19" fmla="*/ 274 h 1750"/>
                  <a:gd name="T20" fmla="*/ 630 w 1840"/>
                  <a:gd name="T21" fmla="*/ 308 h 1750"/>
                  <a:gd name="T22" fmla="*/ 414 w 1840"/>
                  <a:gd name="T23" fmla="*/ 704 h 1750"/>
                  <a:gd name="T24" fmla="*/ 414 w 1840"/>
                  <a:gd name="T25" fmla="*/ 704 h 1750"/>
                  <a:gd name="T26" fmla="*/ 1369 w 1840"/>
                  <a:gd name="T27" fmla="*/ 372 h 1750"/>
                  <a:gd name="T28" fmla="*/ 1255 w 1840"/>
                  <a:gd name="T29" fmla="*/ 302 h 1750"/>
                  <a:gd name="T30" fmla="*/ 1665 w 1840"/>
                  <a:gd name="T31" fmla="*/ 1728 h 1750"/>
                  <a:gd name="T32" fmla="*/ 1665 w 1840"/>
                  <a:gd name="T33" fmla="*/ 351 h 1750"/>
                  <a:gd name="T34" fmla="*/ 1277 w 1840"/>
                  <a:gd name="T35" fmla="*/ 529 h 1750"/>
                  <a:gd name="T36" fmla="*/ 1493 w 1840"/>
                  <a:gd name="T37" fmla="*/ 1728 h 1750"/>
                  <a:gd name="T38" fmla="*/ 533 w 1840"/>
                  <a:gd name="T39" fmla="*/ 1627 h 1750"/>
                  <a:gd name="T40" fmla="*/ 200 w 1840"/>
                  <a:gd name="T41" fmla="*/ 1216 h 1750"/>
                  <a:gd name="T42" fmla="*/ 475 w 1840"/>
                  <a:gd name="T43" fmla="*/ 1272 h 1750"/>
                  <a:gd name="T44" fmla="*/ 506 w 1840"/>
                  <a:gd name="T45" fmla="*/ 1278 h 1750"/>
                  <a:gd name="T46" fmla="*/ 526 w 1840"/>
                  <a:gd name="T47" fmla="*/ 1291 h 1750"/>
                  <a:gd name="T48" fmla="*/ 540 w 1840"/>
                  <a:gd name="T49" fmla="*/ 1306 h 1750"/>
                  <a:gd name="T50" fmla="*/ 554 w 1840"/>
                  <a:gd name="T51" fmla="*/ 1337 h 1750"/>
                  <a:gd name="T52" fmla="*/ 677 w 1840"/>
                  <a:gd name="T53" fmla="*/ 1325 h 1750"/>
                  <a:gd name="T54" fmla="*/ 492 w 1840"/>
                  <a:gd name="T55" fmla="*/ 1148 h 1750"/>
                  <a:gd name="T56" fmla="*/ 580 w 1840"/>
                  <a:gd name="T57" fmla="*/ 922 h 1750"/>
                  <a:gd name="T58" fmla="*/ 713 w 1840"/>
                  <a:gd name="T59" fmla="*/ 1073 h 1750"/>
                  <a:gd name="T60" fmla="*/ 651 w 1840"/>
                  <a:gd name="T61" fmla="*/ 1177 h 1750"/>
                  <a:gd name="T62" fmla="*/ 730 w 1840"/>
                  <a:gd name="T63" fmla="*/ 1395 h 1750"/>
                  <a:gd name="T64" fmla="*/ 580 w 1840"/>
                  <a:gd name="T65" fmla="*/ 1445 h 1750"/>
                  <a:gd name="T66" fmla="*/ 533 w 1840"/>
                  <a:gd name="T67" fmla="*/ 1627 h 1750"/>
                  <a:gd name="T68" fmla="*/ 1840 w 1840"/>
                  <a:gd name="T69" fmla="*/ 154 h 1750"/>
                  <a:gd name="T70" fmla="*/ 1687 w 1840"/>
                  <a:gd name="T71" fmla="*/ 44 h 1750"/>
                  <a:gd name="T72" fmla="*/ 413 w 1840"/>
                  <a:gd name="T73" fmla="*/ 1581 h 1750"/>
                  <a:gd name="T74" fmla="*/ 1018 w 1840"/>
                  <a:gd name="T75" fmla="*/ 1728 h 1750"/>
                  <a:gd name="T76" fmla="*/ 1018 w 1840"/>
                  <a:gd name="T77" fmla="*/ 1728 h 1750"/>
                  <a:gd name="T78" fmla="*/ 1108 w 1840"/>
                  <a:gd name="T79" fmla="*/ 321 h 1750"/>
                  <a:gd name="T80" fmla="*/ 319 w 1840"/>
                  <a:gd name="T81" fmla="*/ 389 h 1750"/>
                  <a:gd name="T82" fmla="*/ 1410 w 1840"/>
                  <a:gd name="T83" fmla="*/ 332 h 1750"/>
                  <a:gd name="T84" fmla="*/ 453 w 1840"/>
                  <a:gd name="T85" fmla="*/ 1559 h 1750"/>
                  <a:gd name="T86" fmla="*/ 530 w 1840"/>
                  <a:gd name="T87" fmla="*/ 1552 h 1750"/>
                  <a:gd name="T88" fmla="*/ 510 w 1840"/>
                  <a:gd name="T89" fmla="*/ 1343 h 1750"/>
                  <a:gd name="T90" fmla="*/ 503 w 1840"/>
                  <a:gd name="T91" fmla="*/ 1330 h 1750"/>
                  <a:gd name="T92" fmla="*/ 492 w 1840"/>
                  <a:gd name="T93" fmla="*/ 1321 h 1750"/>
                  <a:gd name="T94" fmla="*/ 478 w 1840"/>
                  <a:gd name="T95" fmla="*/ 1317 h 1750"/>
                  <a:gd name="T96" fmla="*/ 269 w 1840"/>
                  <a:gd name="T97" fmla="*/ 1335 h 1750"/>
                  <a:gd name="T98" fmla="*/ 276 w 1840"/>
                  <a:gd name="T99" fmla="*/ 1412 h 1750"/>
                  <a:gd name="T100" fmla="*/ 210 w 1840"/>
                  <a:gd name="T101" fmla="*/ 1731 h 1750"/>
                  <a:gd name="T102" fmla="*/ 112 w 1840"/>
                  <a:gd name="T103" fmla="*/ 1216 h 1750"/>
                  <a:gd name="T104" fmla="*/ 195 w 1840"/>
                  <a:gd name="T105" fmla="*/ 1404 h 1750"/>
                  <a:gd name="T106" fmla="*/ 620 w 1840"/>
                  <a:gd name="T107" fmla="*/ 1680 h 1750"/>
                  <a:gd name="T108" fmla="*/ 1128 w 1840"/>
                  <a:gd name="T109" fmla="*/ 1216 h 1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0" h="1750">
                    <a:moveTo>
                      <a:pt x="307" y="497"/>
                    </a:moveTo>
                    <a:cubicBezTo>
                      <a:pt x="307" y="412"/>
                      <a:pt x="237" y="343"/>
                      <a:pt x="153" y="343"/>
                    </a:cubicBezTo>
                    <a:cubicBezTo>
                      <a:pt x="69" y="343"/>
                      <a:pt x="0" y="412"/>
                      <a:pt x="0" y="497"/>
                    </a:cubicBezTo>
                    <a:cubicBezTo>
                      <a:pt x="0" y="581"/>
                      <a:pt x="69" y="651"/>
                      <a:pt x="153" y="651"/>
                    </a:cubicBezTo>
                    <a:cubicBezTo>
                      <a:pt x="237" y="651"/>
                      <a:pt x="307" y="581"/>
                      <a:pt x="307" y="497"/>
                    </a:cubicBezTo>
                    <a:close/>
                    <a:moveTo>
                      <a:pt x="44" y="497"/>
                    </a:moveTo>
                    <a:cubicBezTo>
                      <a:pt x="44" y="436"/>
                      <a:pt x="93" y="387"/>
                      <a:pt x="153" y="387"/>
                    </a:cubicBezTo>
                    <a:cubicBezTo>
                      <a:pt x="213" y="387"/>
                      <a:pt x="263" y="436"/>
                      <a:pt x="263" y="497"/>
                    </a:cubicBezTo>
                    <a:cubicBezTo>
                      <a:pt x="263" y="557"/>
                      <a:pt x="213" y="607"/>
                      <a:pt x="153" y="607"/>
                    </a:cubicBezTo>
                    <a:cubicBezTo>
                      <a:pt x="93" y="607"/>
                      <a:pt x="44" y="557"/>
                      <a:pt x="44" y="497"/>
                    </a:cubicBezTo>
                    <a:close/>
                    <a:moveTo>
                      <a:pt x="198" y="860"/>
                    </a:moveTo>
                    <a:cubicBezTo>
                      <a:pt x="198" y="690"/>
                      <a:pt x="198" y="690"/>
                      <a:pt x="198" y="690"/>
                    </a:cubicBezTo>
                    <a:cubicBezTo>
                      <a:pt x="184" y="694"/>
                      <a:pt x="169" y="695"/>
                      <a:pt x="154" y="695"/>
                    </a:cubicBezTo>
                    <a:cubicBezTo>
                      <a:pt x="154" y="920"/>
                      <a:pt x="154" y="920"/>
                      <a:pt x="154" y="920"/>
                    </a:cubicBezTo>
                    <a:cubicBezTo>
                      <a:pt x="168" y="899"/>
                      <a:pt x="182" y="879"/>
                      <a:pt x="198" y="860"/>
                    </a:cubicBezTo>
                    <a:close/>
                    <a:moveTo>
                      <a:pt x="1062" y="886"/>
                    </a:moveTo>
                    <a:cubicBezTo>
                      <a:pt x="1062" y="415"/>
                      <a:pt x="1062" y="345"/>
                      <a:pt x="1062" y="345"/>
                    </a:cubicBezTo>
                    <a:cubicBezTo>
                      <a:pt x="1018" y="320"/>
                      <a:pt x="1018" y="320"/>
                      <a:pt x="1018" y="320"/>
                    </a:cubicBezTo>
                    <a:cubicBezTo>
                      <a:pt x="1018" y="834"/>
                      <a:pt x="1018" y="834"/>
                      <a:pt x="1018" y="834"/>
                    </a:cubicBezTo>
                    <a:cubicBezTo>
                      <a:pt x="1033" y="851"/>
                      <a:pt x="1048" y="868"/>
                      <a:pt x="1062" y="886"/>
                    </a:cubicBezTo>
                    <a:close/>
                    <a:moveTo>
                      <a:pt x="824" y="230"/>
                    </a:moveTo>
                    <a:cubicBezTo>
                      <a:pt x="886" y="230"/>
                      <a:pt x="938" y="179"/>
                      <a:pt x="938" y="116"/>
                    </a:cubicBezTo>
                    <a:cubicBezTo>
                      <a:pt x="938" y="54"/>
                      <a:pt x="886" y="2"/>
                      <a:pt x="824" y="2"/>
                    </a:cubicBezTo>
                    <a:cubicBezTo>
                      <a:pt x="761" y="2"/>
                      <a:pt x="710" y="54"/>
                      <a:pt x="710" y="116"/>
                    </a:cubicBezTo>
                    <a:cubicBezTo>
                      <a:pt x="710" y="179"/>
                      <a:pt x="761" y="230"/>
                      <a:pt x="824" y="230"/>
                    </a:cubicBezTo>
                    <a:close/>
                    <a:moveTo>
                      <a:pt x="824" y="46"/>
                    </a:moveTo>
                    <a:cubicBezTo>
                      <a:pt x="862" y="46"/>
                      <a:pt x="894" y="78"/>
                      <a:pt x="894" y="116"/>
                    </a:cubicBezTo>
                    <a:cubicBezTo>
                      <a:pt x="894" y="155"/>
                      <a:pt x="862" y="186"/>
                      <a:pt x="824" y="186"/>
                    </a:cubicBezTo>
                    <a:cubicBezTo>
                      <a:pt x="785" y="186"/>
                      <a:pt x="754" y="155"/>
                      <a:pt x="754" y="116"/>
                    </a:cubicBezTo>
                    <a:cubicBezTo>
                      <a:pt x="754" y="78"/>
                      <a:pt x="785" y="46"/>
                      <a:pt x="824" y="46"/>
                    </a:cubicBezTo>
                    <a:close/>
                    <a:moveTo>
                      <a:pt x="280" y="1456"/>
                    </a:moveTo>
                    <a:cubicBezTo>
                      <a:pt x="278" y="1456"/>
                      <a:pt x="277" y="1456"/>
                      <a:pt x="275" y="1456"/>
                    </a:cubicBezTo>
                    <a:cubicBezTo>
                      <a:pt x="276" y="1457"/>
                      <a:pt x="277" y="1458"/>
                      <a:pt x="278" y="1460"/>
                    </a:cubicBezTo>
                    <a:cubicBezTo>
                      <a:pt x="281" y="1456"/>
                      <a:pt x="281" y="1456"/>
                      <a:pt x="281" y="1456"/>
                    </a:cubicBezTo>
                    <a:lnTo>
                      <a:pt x="280" y="1456"/>
                    </a:lnTo>
                    <a:close/>
                    <a:moveTo>
                      <a:pt x="802" y="273"/>
                    </a:moveTo>
                    <a:cubicBezTo>
                      <a:pt x="802" y="695"/>
                      <a:pt x="802" y="695"/>
                      <a:pt x="802" y="695"/>
                    </a:cubicBezTo>
                    <a:cubicBezTo>
                      <a:pt x="817" y="701"/>
                      <a:pt x="832" y="706"/>
                      <a:pt x="846" y="713"/>
                    </a:cubicBezTo>
                    <a:cubicBezTo>
                      <a:pt x="846" y="342"/>
                      <a:pt x="846" y="273"/>
                      <a:pt x="846" y="273"/>
                    </a:cubicBezTo>
                    <a:cubicBezTo>
                      <a:pt x="838" y="274"/>
                      <a:pt x="831" y="274"/>
                      <a:pt x="824" y="274"/>
                    </a:cubicBezTo>
                    <a:cubicBezTo>
                      <a:pt x="816" y="274"/>
                      <a:pt x="809" y="274"/>
                      <a:pt x="802" y="273"/>
                    </a:cubicBezTo>
                    <a:close/>
                    <a:moveTo>
                      <a:pt x="620" y="664"/>
                    </a:moveTo>
                    <a:cubicBezTo>
                      <a:pt x="623" y="664"/>
                      <a:pt x="626" y="664"/>
                      <a:pt x="630" y="664"/>
                    </a:cubicBezTo>
                    <a:cubicBezTo>
                      <a:pt x="630" y="374"/>
                      <a:pt x="630" y="308"/>
                      <a:pt x="630" y="308"/>
                    </a:cubicBezTo>
                    <a:cubicBezTo>
                      <a:pt x="586" y="334"/>
                      <a:pt x="586" y="334"/>
                      <a:pt x="586" y="334"/>
                    </a:cubicBezTo>
                    <a:cubicBezTo>
                      <a:pt x="586" y="665"/>
                      <a:pt x="586" y="665"/>
                      <a:pt x="586" y="665"/>
                    </a:cubicBezTo>
                    <a:cubicBezTo>
                      <a:pt x="597" y="665"/>
                      <a:pt x="608" y="664"/>
                      <a:pt x="620" y="664"/>
                    </a:cubicBezTo>
                    <a:close/>
                    <a:moveTo>
                      <a:pt x="414" y="704"/>
                    </a:moveTo>
                    <a:cubicBezTo>
                      <a:pt x="414" y="496"/>
                      <a:pt x="414" y="435"/>
                      <a:pt x="414" y="435"/>
                    </a:cubicBezTo>
                    <a:cubicBezTo>
                      <a:pt x="370" y="461"/>
                      <a:pt x="370" y="461"/>
                      <a:pt x="370" y="461"/>
                    </a:cubicBezTo>
                    <a:cubicBezTo>
                      <a:pt x="370" y="724"/>
                      <a:pt x="370" y="724"/>
                      <a:pt x="370" y="724"/>
                    </a:cubicBezTo>
                    <a:cubicBezTo>
                      <a:pt x="384" y="717"/>
                      <a:pt x="399" y="710"/>
                      <a:pt x="414" y="704"/>
                    </a:cubicBezTo>
                    <a:close/>
                    <a:moveTo>
                      <a:pt x="1255" y="258"/>
                    </a:moveTo>
                    <a:cubicBezTo>
                      <a:pt x="1193" y="258"/>
                      <a:pt x="1142" y="310"/>
                      <a:pt x="1142" y="372"/>
                    </a:cubicBezTo>
                    <a:cubicBezTo>
                      <a:pt x="1142" y="435"/>
                      <a:pt x="1193" y="486"/>
                      <a:pt x="1255" y="486"/>
                    </a:cubicBezTo>
                    <a:cubicBezTo>
                      <a:pt x="1318" y="486"/>
                      <a:pt x="1369" y="435"/>
                      <a:pt x="1369" y="372"/>
                    </a:cubicBezTo>
                    <a:cubicBezTo>
                      <a:pt x="1369" y="310"/>
                      <a:pt x="1318" y="258"/>
                      <a:pt x="1255" y="258"/>
                    </a:cubicBezTo>
                    <a:close/>
                    <a:moveTo>
                      <a:pt x="1255" y="442"/>
                    </a:moveTo>
                    <a:cubicBezTo>
                      <a:pt x="1216" y="442"/>
                      <a:pt x="1186" y="411"/>
                      <a:pt x="1186" y="372"/>
                    </a:cubicBezTo>
                    <a:cubicBezTo>
                      <a:pt x="1186" y="334"/>
                      <a:pt x="1216" y="302"/>
                      <a:pt x="1255" y="302"/>
                    </a:cubicBezTo>
                    <a:cubicBezTo>
                      <a:pt x="1294" y="302"/>
                      <a:pt x="1325" y="334"/>
                      <a:pt x="1325" y="372"/>
                    </a:cubicBezTo>
                    <a:cubicBezTo>
                      <a:pt x="1325" y="411"/>
                      <a:pt x="1294" y="442"/>
                      <a:pt x="1255" y="442"/>
                    </a:cubicBezTo>
                    <a:close/>
                    <a:moveTo>
                      <a:pt x="1665" y="351"/>
                    </a:moveTo>
                    <a:cubicBezTo>
                      <a:pt x="1665" y="1728"/>
                      <a:pt x="1665" y="1728"/>
                      <a:pt x="1665" y="1728"/>
                    </a:cubicBezTo>
                    <a:cubicBezTo>
                      <a:pt x="1709" y="1728"/>
                      <a:pt x="1709" y="1728"/>
                      <a:pt x="1709" y="1728"/>
                    </a:cubicBezTo>
                    <a:cubicBezTo>
                      <a:pt x="1709" y="351"/>
                      <a:pt x="1709" y="351"/>
                      <a:pt x="1709" y="351"/>
                    </a:cubicBezTo>
                    <a:cubicBezTo>
                      <a:pt x="1702" y="352"/>
                      <a:pt x="1695" y="352"/>
                      <a:pt x="1687" y="352"/>
                    </a:cubicBezTo>
                    <a:cubicBezTo>
                      <a:pt x="1680" y="352"/>
                      <a:pt x="1673" y="352"/>
                      <a:pt x="1665" y="351"/>
                    </a:cubicBezTo>
                    <a:close/>
                    <a:moveTo>
                      <a:pt x="1233" y="529"/>
                    </a:moveTo>
                    <a:cubicBezTo>
                      <a:pt x="1233" y="1728"/>
                      <a:pt x="1233" y="1728"/>
                      <a:pt x="1233" y="1728"/>
                    </a:cubicBezTo>
                    <a:cubicBezTo>
                      <a:pt x="1277" y="1728"/>
                      <a:pt x="1277" y="1728"/>
                      <a:pt x="1277" y="1728"/>
                    </a:cubicBezTo>
                    <a:cubicBezTo>
                      <a:pt x="1277" y="529"/>
                      <a:pt x="1277" y="529"/>
                      <a:pt x="1277" y="529"/>
                    </a:cubicBezTo>
                    <a:cubicBezTo>
                      <a:pt x="1270" y="530"/>
                      <a:pt x="1262" y="530"/>
                      <a:pt x="1255" y="530"/>
                    </a:cubicBezTo>
                    <a:cubicBezTo>
                      <a:pt x="1247" y="530"/>
                      <a:pt x="1240" y="530"/>
                      <a:pt x="1233" y="529"/>
                    </a:cubicBezTo>
                    <a:close/>
                    <a:moveTo>
                      <a:pt x="1449" y="1728"/>
                    </a:moveTo>
                    <a:cubicBezTo>
                      <a:pt x="1493" y="1728"/>
                      <a:pt x="1493" y="1728"/>
                      <a:pt x="1493" y="1728"/>
                    </a:cubicBezTo>
                    <a:cubicBezTo>
                      <a:pt x="1493" y="338"/>
                      <a:pt x="1493" y="338"/>
                      <a:pt x="1493" y="338"/>
                    </a:cubicBezTo>
                    <a:cubicBezTo>
                      <a:pt x="1449" y="360"/>
                      <a:pt x="1449" y="360"/>
                      <a:pt x="1449" y="360"/>
                    </a:cubicBezTo>
                    <a:cubicBezTo>
                      <a:pt x="1449" y="1728"/>
                      <a:pt x="1449" y="1728"/>
                      <a:pt x="1449" y="1728"/>
                    </a:cubicBezTo>
                    <a:close/>
                    <a:moveTo>
                      <a:pt x="533" y="1627"/>
                    </a:moveTo>
                    <a:cubicBezTo>
                      <a:pt x="561" y="1633"/>
                      <a:pt x="590" y="1636"/>
                      <a:pt x="620" y="1636"/>
                    </a:cubicBezTo>
                    <a:cubicBezTo>
                      <a:pt x="851" y="1636"/>
                      <a:pt x="1040" y="1448"/>
                      <a:pt x="1040" y="1216"/>
                    </a:cubicBezTo>
                    <a:cubicBezTo>
                      <a:pt x="1040" y="985"/>
                      <a:pt x="851" y="796"/>
                      <a:pt x="620" y="796"/>
                    </a:cubicBezTo>
                    <a:cubicBezTo>
                      <a:pt x="388" y="796"/>
                      <a:pt x="200" y="985"/>
                      <a:pt x="200" y="1216"/>
                    </a:cubicBezTo>
                    <a:cubicBezTo>
                      <a:pt x="200" y="1251"/>
                      <a:pt x="204" y="1284"/>
                      <a:pt x="212" y="1317"/>
                    </a:cubicBezTo>
                    <a:cubicBezTo>
                      <a:pt x="226" y="1302"/>
                      <a:pt x="244" y="1293"/>
                      <a:pt x="265" y="1291"/>
                    </a:cubicBezTo>
                    <a:cubicBezTo>
                      <a:pt x="465" y="1273"/>
                      <a:pt x="465" y="1273"/>
                      <a:pt x="465" y="1273"/>
                    </a:cubicBezTo>
                    <a:cubicBezTo>
                      <a:pt x="468" y="1272"/>
                      <a:pt x="471" y="1272"/>
                      <a:pt x="475" y="1272"/>
                    </a:cubicBezTo>
                    <a:cubicBezTo>
                      <a:pt x="475" y="1272"/>
                      <a:pt x="475" y="1272"/>
                      <a:pt x="476" y="1272"/>
                    </a:cubicBezTo>
                    <a:cubicBezTo>
                      <a:pt x="492" y="1271"/>
                      <a:pt x="492" y="1271"/>
                      <a:pt x="492" y="1271"/>
                    </a:cubicBezTo>
                    <a:cubicBezTo>
                      <a:pt x="498" y="1276"/>
                      <a:pt x="498" y="1276"/>
                      <a:pt x="498" y="1276"/>
                    </a:cubicBezTo>
                    <a:cubicBezTo>
                      <a:pt x="506" y="1278"/>
                      <a:pt x="506" y="1278"/>
                      <a:pt x="506" y="1278"/>
                    </a:cubicBezTo>
                    <a:cubicBezTo>
                      <a:pt x="509" y="1280"/>
                      <a:pt x="509" y="1280"/>
                      <a:pt x="509" y="1280"/>
                    </a:cubicBezTo>
                    <a:cubicBezTo>
                      <a:pt x="510" y="1281"/>
                      <a:pt x="516" y="1284"/>
                      <a:pt x="516" y="1284"/>
                    </a:cubicBezTo>
                    <a:cubicBezTo>
                      <a:pt x="518" y="1285"/>
                      <a:pt x="518" y="1285"/>
                      <a:pt x="518" y="1285"/>
                    </a:cubicBezTo>
                    <a:cubicBezTo>
                      <a:pt x="521" y="1287"/>
                      <a:pt x="524" y="1290"/>
                      <a:pt x="526" y="1291"/>
                    </a:cubicBezTo>
                    <a:cubicBezTo>
                      <a:pt x="528" y="1293"/>
                      <a:pt x="531" y="1295"/>
                      <a:pt x="534" y="1298"/>
                    </a:cubicBezTo>
                    <a:cubicBezTo>
                      <a:pt x="535" y="1300"/>
                      <a:pt x="535" y="1300"/>
                      <a:pt x="535" y="1300"/>
                    </a:cubicBezTo>
                    <a:cubicBezTo>
                      <a:pt x="539" y="1304"/>
                      <a:pt x="539" y="1304"/>
                      <a:pt x="539" y="1304"/>
                    </a:cubicBezTo>
                    <a:cubicBezTo>
                      <a:pt x="539" y="1305"/>
                      <a:pt x="539" y="1305"/>
                      <a:pt x="540" y="1306"/>
                    </a:cubicBezTo>
                    <a:cubicBezTo>
                      <a:pt x="543" y="1309"/>
                      <a:pt x="543" y="1309"/>
                      <a:pt x="543" y="1309"/>
                    </a:cubicBezTo>
                    <a:cubicBezTo>
                      <a:pt x="546" y="1316"/>
                      <a:pt x="546" y="1316"/>
                      <a:pt x="546" y="1316"/>
                    </a:cubicBezTo>
                    <a:cubicBezTo>
                      <a:pt x="552" y="1321"/>
                      <a:pt x="552" y="1321"/>
                      <a:pt x="552" y="1321"/>
                    </a:cubicBezTo>
                    <a:cubicBezTo>
                      <a:pt x="554" y="1337"/>
                      <a:pt x="554" y="1337"/>
                      <a:pt x="554" y="1337"/>
                    </a:cubicBezTo>
                    <a:cubicBezTo>
                      <a:pt x="555" y="1341"/>
                      <a:pt x="555" y="1345"/>
                      <a:pt x="555" y="1347"/>
                    </a:cubicBezTo>
                    <a:cubicBezTo>
                      <a:pt x="557" y="1365"/>
                      <a:pt x="557" y="1365"/>
                      <a:pt x="557" y="1365"/>
                    </a:cubicBezTo>
                    <a:cubicBezTo>
                      <a:pt x="573" y="1371"/>
                      <a:pt x="589" y="1374"/>
                      <a:pt x="606" y="1374"/>
                    </a:cubicBezTo>
                    <a:cubicBezTo>
                      <a:pt x="653" y="1374"/>
                      <a:pt x="677" y="1357"/>
                      <a:pt x="677" y="1325"/>
                    </a:cubicBezTo>
                    <a:cubicBezTo>
                      <a:pt x="677" y="1308"/>
                      <a:pt x="671" y="1293"/>
                      <a:pt x="659" y="1278"/>
                    </a:cubicBezTo>
                    <a:cubicBezTo>
                      <a:pt x="647" y="1264"/>
                      <a:pt x="623" y="1247"/>
                      <a:pt x="590" y="1231"/>
                    </a:cubicBezTo>
                    <a:cubicBezTo>
                      <a:pt x="555" y="1214"/>
                      <a:pt x="533" y="1200"/>
                      <a:pt x="521" y="1189"/>
                    </a:cubicBezTo>
                    <a:cubicBezTo>
                      <a:pt x="508" y="1177"/>
                      <a:pt x="498" y="1164"/>
                      <a:pt x="492" y="1148"/>
                    </a:cubicBezTo>
                    <a:cubicBezTo>
                      <a:pt x="485" y="1133"/>
                      <a:pt x="483" y="1115"/>
                      <a:pt x="483" y="1096"/>
                    </a:cubicBezTo>
                    <a:cubicBezTo>
                      <a:pt x="483" y="1067"/>
                      <a:pt x="491" y="1043"/>
                      <a:pt x="509" y="1021"/>
                    </a:cubicBezTo>
                    <a:cubicBezTo>
                      <a:pt x="527" y="999"/>
                      <a:pt x="551" y="985"/>
                      <a:pt x="580" y="978"/>
                    </a:cubicBezTo>
                    <a:cubicBezTo>
                      <a:pt x="580" y="922"/>
                      <a:pt x="580" y="922"/>
                      <a:pt x="580" y="922"/>
                    </a:cubicBezTo>
                    <a:cubicBezTo>
                      <a:pt x="652" y="922"/>
                      <a:pt x="652" y="922"/>
                      <a:pt x="652" y="922"/>
                    </a:cubicBezTo>
                    <a:cubicBezTo>
                      <a:pt x="652" y="974"/>
                      <a:pt x="652" y="974"/>
                      <a:pt x="652" y="974"/>
                    </a:cubicBezTo>
                    <a:cubicBezTo>
                      <a:pt x="690" y="979"/>
                      <a:pt x="719" y="987"/>
                      <a:pt x="737" y="1003"/>
                    </a:cubicBezTo>
                    <a:cubicBezTo>
                      <a:pt x="713" y="1073"/>
                      <a:pt x="713" y="1073"/>
                      <a:pt x="713" y="1073"/>
                    </a:cubicBezTo>
                    <a:cubicBezTo>
                      <a:pt x="684" y="1052"/>
                      <a:pt x="654" y="1042"/>
                      <a:pt x="622" y="1042"/>
                    </a:cubicBezTo>
                    <a:cubicBezTo>
                      <a:pt x="603" y="1042"/>
                      <a:pt x="589" y="1047"/>
                      <a:pt x="579" y="1058"/>
                    </a:cubicBezTo>
                    <a:cubicBezTo>
                      <a:pt x="569" y="1067"/>
                      <a:pt x="564" y="1080"/>
                      <a:pt x="564" y="1096"/>
                    </a:cubicBezTo>
                    <a:cubicBezTo>
                      <a:pt x="564" y="1122"/>
                      <a:pt x="592" y="1148"/>
                      <a:pt x="651" y="1177"/>
                    </a:cubicBezTo>
                    <a:cubicBezTo>
                      <a:pt x="681" y="1192"/>
                      <a:pt x="703" y="1206"/>
                      <a:pt x="716" y="1219"/>
                    </a:cubicBezTo>
                    <a:cubicBezTo>
                      <a:pt x="730" y="1231"/>
                      <a:pt x="740" y="1246"/>
                      <a:pt x="747" y="1263"/>
                    </a:cubicBezTo>
                    <a:cubicBezTo>
                      <a:pt x="755" y="1280"/>
                      <a:pt x="758" y="1297"/>
                      <a:pt x="758" y="1319"/>
                    </a:cubicBezTo>
                    <a:cubicBezTo>
                      <a:pt x="758" y="1348"/>
                      <a:pt x="749" y="1373"/>
                      <a:pt x="730" y="1395"/>
                    </a:cubicBezTo>
                    <a:cubicBezTo>
                      <a:pt x="712" y="1417"/>
                      <a:pt x="685" y="1431"/>
                      <a:pt x="652" y="1439"/>
                    </a:cubicBezTo>
                    <a:cubicBezTo>
                      <a:pt x="652" y="1511"/>
                      <a:pt x="652" y="1511"/>
                      <a:pt x="652" y="1511"/>
                    </a:cubicBezTo>
                    <a:cubicBezTo>
                      <a:pt x="580" y="1511"/>
                      <a:pt x="580" y="1511"/>
                      <a:pt x="580" y="1511"/>
                    </a:cubicBezTo>
                    <a:cubicBezTo>
                      <a:pt x="580" y="1445"/>
                      <a:pt x="580" y="1445"/>
                      <a:pt x="580" y="1445"/>
                    </a:cubicBezTo>
                    <a:cubicBezTo>
                      <a:pt x="575" y="1445"/>
                      <a:pt x="569" y="1444"/>
                      <a:pt x="564" y="1444"/>
                    </a:cubicBezTo>
                    <a:cubicBezTo>
                      <a:pt x="574" y="1548"/>
                      <a:pt x="574" y="1548"/>
                      <a:pt x="574" y="1548"/>
                    </a:cubicBezTo>
                    <a:cubicBezTo>
                      <a:pt x="576" y="1570"/>
                      <a:pt x="569" y="1592"/>
                      <a:pt x="555" y="1609"/>
                    </a:cubicBezTo>
                    <a:cubicBezTo>
                      <a:pt x="549" y="1616"/>
                      <a:pt x="541" y="1622"/>
                      <a:pt x="533" y="1627"/>
                    </a:cubicBezTo>
                    <a:close/>
                    <a:moveTo>
                      <a:pt x="1687" y="0"/>
                    </a:moveTo>
                    <a:cubicBezTo>
                      <a:pt x="1602" y="0"/>
                      <a:pt x="1533" y="69"/>
                      <a:pt x="1533" y="154"/>
                    </a:cubicBezTo>
                    <a:cubicBezTo>
                      <a:pt x="1533" y="239"/>
                      <a:pt x="1602" y="308"/>
                      <a:pt x="1687" y="308"/>
                    </a:cubicBezTo>
                    <a:cubicBezTo>
                      <a:pt x="1771" y="308"/>
                      <a:pt x="1840" y="239"/>
                      <a:pt x="1840" y="154"/>
                    </a:cubicBezTo>
                    <a:cubicBezTo>
                      <a:pt x="1840" y="69"/>
                      <a:pt x="1771" y="0"/>
                      <a:pt x="1687" y="0"/>
                    </a:cubicBezTo>
                    <a:close/>
                    <a:moveTo>
                      <a:pt x="1687" y="264"/>
                    </a:moveTo>
                    <a:cubicBezTo>
                      <a:pt x="1627" y="264"/>
                      <a:pt x="1577" y="215"/>
                      <a:pt x="1577" y="154"/>
                    </a:cubicBezTo>
                    <a:cubicBezTo>
                      <a:pt x="1577" y="93"/>
                      <a:pt x="1627" y="44"/>
                      <a:pt x="1687" y="44"/>
                    </a:cubicBezTo>
                    <a:cubicBezTo>
                      <a:pt x="1747" y="44"/>
                      <a:pt x="1796" y="93"/>
                      <a:pt x="1796" y="154"/>
                    </a:cubicBezTo>
                    <a:cubicBezTo>
                      <a:pt x="1796" y="215"/>
                      <a:pt x="1747" y="264"/>
                      <a:pt x="1687" y="264"/>
                    </a:cubicBezTo>
                    <a:close/>
                    <a:moveTo>
                      <a:pt x="399" y="1573"/>
                    </a:moveTo>
                    <a:cubicBezTo>
                      <a:pt x="404" y="1576"/>
                      <a:pt x="408" y="1579"/>
                      <a:pt x="413" y="1581"/>
                    </a:cubicBezTo>
                    <a:cubicBezTo>
                      <a:pt x="411" y="1575"/>
                      <a:pt x="409" y="1569"/>
                      <a:pt x="409" y="1563"/>
                    </a:cubicBezTo>
                    <a:cubicBezTo>
                      <a:pt x="409" y="1562"/>
                      <a:pt x="409" y="1562"/>
                      <a:pt x="409" y="1562"/>
                    </a:cubicBezTo>
                    <a:lnTo>
                      <a:pt x="399" y="1573"/>
                    </a:lnTo>
                    <a:close/>
                    <a:moveTo>
                      <a:pt x="1018" y="1728"/>
                    </a:moveTo>
                    <a:cubicBezTo>
                      <a:pt x="1062" y="1728"/>
                      <a:pt x="1062" y="1728"/>
                      <a:pt x="1062" y="1728"/>
                    </a:cubicBezTo>
                    <a:cubicBezTo>
                      <a:pt x="1062" y="1547"/>
                      <a:pt x="1062" y="1547"/>
                      <a:pt x="1062" y="1547"/>
                    </a:cubicBezTo>
                    <a:cubicBezTo>
                      <a:pt x="1048" y="1565"/>
                      <a:pt x="1033" y="1582"/>
                      <a:pt x="1018" y="1598"/>
                    </a:cubicBezTo>
                    <a:cubicBezTo>
                      <a:pt x="1018" y="1687"/>
                      <a:pt x="1018" y="1728"/>
                      <a:pt x="1018" y="1728"/>
                    </a:cubicBezTo>
                    <a:close/>
                    <a:moveTo>
                      <a:pt x="1128" y="282"/>
                    </a:moveTo>
                    <a:cubicBezTo>
                      <a:pt x="1128" y="282"/>
                      <a:pt x="1128" y="282"/>
                      <a:pt x="966" y="187"/>
                    </a:cubicBezTo>
                    <a:cubicBezTo>
                      <a:pt x="959" y="200"/>
                      <a:pt x="951" y="212"/>
                      <a:pt x="941" y="223"/>
                    </a:cubicBezTo>
                    <a:cubicBezTo>
                      <a:pt x="941" y="223"/>
                      <a:pt x="941" y="223"/>
                      <a:pt x="1108" y="321"/>
                    </a:cubicBezTo>
                    <a:cubicBezTo>
                      <a:pt x="1113" y="307"/>
                      <a:pt x="1119" y="293"/>
                      <a:pt x="1128" y="282"/>
                    </a:cubicBezTo>
                    <a:close/>
                    <a:moveTo>
                      <a:pt x="701" y="215"/>
                    </a:moveTo>
                    <a:cubicBezTo>
                      <a:pt x="692" y="204"/>
                      <a:pt x="685" y="191"/>
                      <a:pt x="679" y="177"/>
                    </a:cubicBezTo>
                    <a:cubicBezTo>
                      <a:pt x="679" y="177"/>
                      <a:pt x="679" y="177"/>
                      <a:pt x="319" y="389"/>
                    </a:cubicBezTo>
                    <a:cubicBezTo>
                      <a:pt x="327" y="402"/>
                      <a:pt x="333" y="415"/>
                      <a:pt x="339" y="429"/>
                    </a:cubicBezTo>
                    <a:cubicBezTo>
                      <a:pt x="339" y="429"/>
                      <a:pt x="339" y="429"/>
                      <a:pt x="701" y="215"/>
                    </a:cubicBezTo>
                    <a:close/>
                    <a:moveTo>
                      <a:pt x="1393" y="291"/>
                    </a:moveTo>
                    <a:cubicBezTo>
                      <a:pt x="1400" y="304"/>
                      <a:pt x="1406" y="318"/>
                      <a:pt x="1410" y="332"/>
                    </a:cubicBezTo>
                    <a:cubicBezTo>
                      <a:pt x="1410" y="332"/>
                      <a:pt x="1410" y="332"/>
                      <a:pt x="1529" y="271"/>
                    </a:cubicBezTo>
                    <a:cubicBezTo>
                      <a:pt x="1521" y="259"/>
                      <a:pt x="1513" y="246"/>
                      <a:pt x="1508" y="232"/>
                    </a:cubicBezTo>
                    <a:cubicBezTo>
                      <a:pt x="1508" y="232"/>
                      <a:pt x="1508" y="232"/>
                      <a:pt x="1393" y="291"/>
                    </a:cubicBezTo>
                    <a:close/>
                    <a:moveTo>
                      <a:pt x="453" y="1559"/>
                    </a:moveTo>
                    <a:cubicBezTo>
                      <a:pt x="454" y="1569"/>
                      <a:pt x="458" y="1579"/>
                      <a:pt x="466" y="1585"/>
                    </a:cubicBezTo>
                    <a:cubicBezTo>
                      <a:pt x="474" y="1592"/>
                      <a:pt x="484" y="1595"/>
                      <a:pt x="495" y="1594"/>
                    </a:cubicBezTo>
                    <a:cubicBezTo>
                      <a:pt x="505" y="1593"/>
                      <a:pt x="514" y="1588"/>
                      <a:pt x="521" y="1580"/>
                    </a:cubicBezTo>
                    <a:cubicBezTo>
                      <a:pt x="528" y="1572"/>
                      <a:pt x="531" y="1562"/>
                      <a:pt x="530" y="1552"/>
                    </a:cubicBezTo>
                    <a:cubicBezTo>
                      <a:pt x="530" y="1552"/>
                      <a:pt x="530" y="1552"/>
                      <a:pt x="511" y="1351"/>
                    </a:cubicBezTo>
                    <a:cubicBezTo>
                      <a:pt x="511" y="1349"/>
                      <a:pt x="511" y="1346"/>
                      <a:pt x="510" y="1344"/>
                    </a:cubicBezTo>
                    <a:cubicBezTo>
                      <a:pt x="510" y="1344"/>
                      <a:pt x="510" y="1344"/>
                      <a:pt x="510" y="1343"/>
                    </a:cubicBezTo>
                    <a:cubicBezTo>
                      <a:pt x="510" y="1343"/>
                      <a:pt x="510" y="1343"/>
                      <a:pt x="510" y="1343"/>
                    </a:cubicBezTo>
                    <a:cubicBezTo>
                      <a:pt x="509" y="1341"/>
                      <a:pt x="509" y="1339"/>
                      <a:pt x="508" y="1337"/>
                    </a:cubicBezTo>
                    <a:cubicBezTo>
                      <a:pt x="508" y="1337"/>
                      <a:pt x="508" y="1337"/>
                      <a:pt x="507" y="1336"/>
                    </a:cubicBezTo>
                    <a:cubicBezTo>
                      <a:pt x="507" y="1336"/>
                      <a:pt x="507" y="1336"/>
                      <a:pt x="507" y="1336"/>
                    </a:cubicBezTo>
                    <a:cubicBezTo>
                      <a:pt x="506" y="1334"/>
                      <a:pt x="505" y="1332"/>
                      <a:pt x="503" y="1330"/>
                    </a:cubicBezTo>
                    <a:cubicBezTo>
                      <a:pt x="503" y="1330"/>
                      <a:pt x="503" y="1330"/>
                      <a:pt x="503" y="1330"/>
                    </a:cubicBezTo>
                    <a:cubicBezTo>
                      <a:pt x="501" y="1328"/>
                      <a:pt x="500" y="1327"/>
                      <a:pt x="498" y="1325"/>
                    </a:cubicBezTo>
                    <a:cubicBezTo>
                      <a:pt x="496" y="1324"/>
                      <a:pt x="495" y="1322"/>
                      <a:pt x="492" y="1321"/>
                    </a:cubicBezTo>
                    <a:cubicBezTo>
                      <a:pt x="492" y="1321"/>
                      <a:pt x="492" y="1321"/>
                      <a:pt x="492" y="1321"/>
                    </a:cubicBezTo>
                    <a:cubicBezTo>
                      <a:pt x="490" y="1320"/>
                      <a:pt x="488" y="1319"/>
                      <a:pt x="486" y="1318"/>
                    </a:cubicBezTo>
                    <a:cubicBezTo>
                      <a:pt x="486" y="1318"/>
                      <a:pt x="486" y="1318"/>
                      <a:pt x="486" y="1318"/>
                    </a:cubicBezTo>
                    <a:cubicBezTo>
                      <a:pt x="486" y="1318"/>
                      <a:pt x="486" y="1318"/>
                      <a:pt x="484" y="1318"/>
                    </a:cubicBezTo>
                    <a:cubicBezTo>
                      <a:pt x="482" y="1317"/>
                      <a:pt x="480" y="1317"/>
                      <a:pt x="478" y="1317"/>
                    </a:cubicBezTo>
                    <a:cubicBezTo>
                      <a:pt x="478" y="1317"/>
                      <a:pt x="478" y="1317"/>
                      <a:pt x="478" y="1316"/>
                    </a:cubicBezTo>
                    <a:cubicBezTo>
                      <a:pt x="478" y="1316"/>
                      <a:pt x="478" y="1316"/>
                      <a:pt x="477" y="1316"/>
                    </a:cubicBezTo>
                    <a:cubicBezTo>
                      <a:pt x="475" y="1316"/>
                      <a:pt x="472" y="1316"/>
                      <a:pt x="469" y="1316"/>
                    </a:cubicBezTo>
                    <a:cubicBezTo>
                      <a:pt x="469" y="1316"/>
                      <a:pt x="469" y="1316"/>
                      <a:pt x="269" y="1335"/>
                    </a:cubicBezTo>
                    <a:cubicBezTo>
                      <a:pt x="259" y="1336"/>
                      <a:pt x="249" y="1340"/>
                      <a:pt x="243" y="1348"/>
                    </a:cubicBezTo>
                    <a:cubicBezTo>
                      <a:pt x="236" y="1356"/>
                      <a:pt x="233" y="1367"/>
                      <a:pt x="234" y="1377"/>
                    </a:cubicBezTo>
                    <a:cubicBezTo>
                      <a:pt x="235" y="1387"/>
                      <a:pt x="240" y="1397"/>
                      <a:pt x="248" y="1403"/>
                    </a:cubicBezTo>
                    <a:cubicBezTo>
                      <a:pt x="256" y="1410"/>
                      <a:pt x="266" y="1413"/>
                      <a:pt x="276" y="1412"/>
                    </a:cubicBezTo>
                    <a:cubicBezTo>
                      <a:pt x="276" y="1412"/>
                      <a:pt x="276" y="1412"/>
                      <a:pt x="383" y="1402"/>
                    </a:cubicBezTo>
                    <a:cubicBezTo>
                      <a:pt x="383" y="1402"/>
                      <a:pt x="383" y="1402"/>
                      <a:pt x="150" y="1682"/>
                    </a:cubicBezTo>
                    <a:cubicBezTo>
                      <a:pt x="137" y="1698"/>
                      <a:pt x="139" y="1723"/>
                      <a:pt x="155" y="1736"/>
                    </a:cubicBezTo>
                    <a:cubicBezTo>
                      <a:pt x="172" y="1750"/>
                      <a:pt x="196" y="1748"/>
                      <a:pt x="210" y="1731"/>
                    </a:cubicBezTo>
                    <a:cubicBezTo>
                      <a:pt x="210" y="1731"/>
                      <a:pt x="210" y="1731"/>
                      <a:pt x="443" y="1451"/>
                    </a:cubicBezTo>
                    <a:cubicBezTo>
                      <a:pt x="443" y="1451"/>
                      <a:pt x="443" y="1451"/>
                      <a:pt x="453" y="1559"/>
                    </a:cubicBezTo>
                    <a:close/>
                    <a:moveTo>
                      <a:pt x="620" y="708"/>
                    </a:moveTo>
                    <a:cubicBezTo>
                      <a:pt x="340" y="708"/>
                      <a:pt x="112" y="936"/>
                      <a:pt x="112" y="1216"/>
                    </a:cubicBezTo>
                    <a:cubicBezTo>
                      <a:pt x="112" y="1334"/>
                      <a:pt x="152" y="1443"/>
                      <a:pt x="220" y="1529"/>
                    </a:cubicBezTo>
                    <a:cubicBezTo>
                      <a:pt x="249" y="1495"/>
                      <a:pt x="249" y="1495"/>
                      <a:pt x="249" y="1495"/>
                    </a:cubicBezTo>
                    <a:cubicBezTo>
                      <a:pt x="230" y="1469"/>
                      <a:pt x="213" y="1442"/>
                      <a:pt x="200" y="1413"/>
                    </a:cubicBezTo>
                    <a:cubicBezTo>
                      <a:pt x="198" y="1410"/>
                      <a:pt x="197" y="1407"/>
                      <a:pt x="195" y="1404"/>
                    </a:cubicBezTo>
                    <a:cubicBezTo>
                      <a:pt x="170" y="1346"/>
                      <a:pt x="156" y="1283"/>
                      <a:pt x="156" y="1216"/>
                    </a:cubicBezTo>
                    <a:cubicBezTo>
                      <a:pt x="156" y="960"/>
                      <a:pt x="364" y="752"/>
                      <a:pt x="620" y="752"/>
                    </a:cubicBezTo>
                    <a:cubicBezTo>
                      <a:pt x="876" y="752"/>
                      <a:pt x="1084" y="960"/>
                      <a:pt x="1084" y="1216"/>
                    </a:cubicBezTo>
                    <a:cubicBezTo>
                      <a:pt x="1084" y="1472"/>
                      <a:pt x="876" y="1680"/>
                      <a:pt x="620" y="1680"/>
                    </a:cubicBezTo>
                    <a:cubicBezTo>
                      <a:pt x="528" y="1680"/>
                      <a:pt x="443" y="1653"/>
                      <a:pt x="371" y="1607"/>
                    </a:cubicBezTo>
                    <a:cubicBezTo>
                      <a:pt x="342" y="1641"/>
                      <a:pt x="342" y="1641"/>
                      <a:pt x="342" y="1641"/>
                    </a:cubicBezTo>
                    <a:cubicBezTo>
                      <a:pt x="422" y="1694"/>
                      <a:pt x="517" y="1724"/>
                      <a:pt x="620" y="1724"/>
                    </a:cubicBezTo>
                    <a:cubicBezTo>
                      <a:pt x="900" y="1724"/>
                      <a:pt x="1128" y="1496"/>
                      <a:pt x="1128" y="1216"/>
                    </a:cubicBezTo>
                    <a:cubicBezTo>
                      <a:pt x="1128" y="936"/>
                      <a:pt x="900" y="708"/>
                      <a:pt x="620" y="70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8" rIns="82296" bIns="41148" numCol="1" anchor="t" anchorCtr="0" compatLnSpc="1">
                <a:prstTxWarp prst="textNoShape">
                  <a:avLst/>
                </a:prstTxWarp>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200" b="0" i="0" u="none" strike="noStrike" kern="1200" cap="none" spc="0" normalizeH="0" baseline="0" noProof="0" dirty="0">
                  <a:ln>
                    <a:noFill/>
                  </a:ln>
                  <a:solidFill>
                    <a:srgbClr val="000000"/>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grpSp>
      </p:grpSp>
      <p:sp>
        <p:nvSpPr>
          <p:cNvPr id="38" name="Title 2">
            <a:extLst>
              <a:ext uri="{FF2B5EF4-FFF2-40B4-BE49-F238E27FC236}">
                <a16:creationId xmlns:a16="http://schemas.microsoft.com/office/drawing/2014/main" id="{4A12F171-E404-DA7D-CFF7-4015C948813C}"/>
              </a:ext>
            </a:extLst>
          </p:cNvPr>
          <p:cNvSpPr txBox="1">
            <a:spLocks/>
          </p:cNvSpPr>
          <p:nvPr/>
        </p:nvSpPr>
        <p:spPr>
          <a:xfrm flipH="1">
            <a:off x="7013369" y="1427176"/>
            <a:ext cx="4922950" cy="329321"/>
          </a:xfrm>
          <a:prstGeom prst="rect">
            <a:avLst/>
          </a:prstGeom>
          <a:noFill/>
        </p:spPr>
        <p:txBody>
          <a:bodyPr wrap="square" lIns="82296" tIns="41148" rIns="82296" bIns="41148" anchor="ctr">
            <a:spAutoFit/>
          </a:bodyPr>
          <a:lstStyle>
            <a:defPPr>
              <a:defRPr lang="en-US"/>
            </a:defPPr>
            <a:lvl1pPr marR="0" lvl="0" indent="0" algn="r" rtl="1" fontAlgn="auto">
              <a:lnSpc>
                <a:spcPct val="100000"/>
              </a:lnSpc>
              <a:spcBef>
                <a:spcPts val="0"/>
              </a:spcBef>
              <a:spcAft>
                <a:spcPts val="600"/>
              </a:spcAft>
              <a:buClrTx/>
              <a:buSzTx/>
              <a:buFontTx/>
              <a:buNone/>
              <a:tabLst/>
              <a:defRPr kumimoji="0" b="1" i="0" u="none" strike="noStrike" cap="none" spc="0" normalizeH="0" baseline="0">
                <a:ln>
                  <a:noFill/>
                </a:ln>
                <a:solidFill>
                  <a:srgbClr val="817A6C"/>
                </a:solidFill>
                <a:effectLst/>
                <a:uLnTx/>
                <a:uFillTx/>
                <a:latin typeface="Sakkal Majalla" panose="02000000000000000000" pitchFamily="2" charset="-78"/>
                <a:ea typeface="Arial" panose="020B0604020202020204" pitchFamily="34" charset="0"/>
                <a:cs typeface="Janna LT" panose="01000000000000000000"/>
              </a:defRPr>
            </a:lvl1pPr>
          </a:lstStyle>
          <a:p>
            <a:pPr algn="ctr"/>
            <a:r>
              <a:rPr lang="en-US" sz="1600" dirty="0">
                <a:latin typeface="Arial" panose="020B0604020202020204" pitchFamily="34" charset="0"/>
                <a:cs typeface="Arial" panose="020B0604020202020204" pitchFamily="34" charset="0"/>
                <a:sym typeface="Sakkal Majalla" panose="02000000000000000000" pitchFamily="2" charset="-78"/>
              </a:rPr>
              <a:t>Agriculture, Food, and Fertilizers</a:t>
            </a:r>
          </a:p>
        </p:txBody>
      </p:sp>
      <p:sp>
        <p:nvSpPr>
          <p:cNvPr id="39" name="TextBox 38">
            <a:extLst>
              <a:ext uri="{FF2B5EF4-FFF2-40B4-BE49-F238E27FC236}">
                <a16:creationId xmlns:a16="http://schemas.microsoft.com/office/drawing/2014/main" id="{1DFA083D-639C-7C2B-3040-3A98A41AC113}"/>
              </a:ext>
            </a:extLst>
          </p:cNvPr>
          <p:cNvSpPr txBox="1"/>
          <p:nvPr/>
        </p:nvSpPr>
        <p:spPr>
          <a:xfrm>
            <a:off x="7025771" y="2690310"/>
            <a:ext cx="4527154" cy="329321"/>
          </a:xfrm>
          <a:prstGeom prst="rect">
            <a:avLst/>
          </a:prstGeom>
          <a:noFill/>
        </p:spPr>
        <p:txBody>
          <a:bodyPr wrap="square" lIns="82296" tIns="41148" rIns="82296" bIns="41148" anchor="ctr">
            <a:spAutoFit/>
          </a:bodyPr>
          <a:lstStyle>
            <a:defPPr>
              <a:defRPr lang="en-US"/>
            </a:defPPr>
            <a:lvl1pPr marR="0" lvl="0" indent="0" algn="ctr" rtl="1" fontAlgn="auto">
              <a:lnSpc>
                <a:spcPct val="100000"/>
              </a:lnSpc>
              <a:spcBef>
                <a:spcPts val="0"/>
              </a:spcBef>
              <a:spcAft>
                <a:spcPts val="600"/>
              </a:spcAft>
              <a:buClrTx/>
              <a:buSzTx/>
              <a:buFontTx/>
              <a:buNone/>
              <a:tabLst/>
              <a:defRPr kumimoji="0" b="1" i="0" u="none" strike="noStrike" cap="none" spc="0" normalizeH="0" baseline="0">
                <a:ln>
                  <a:noFill/>
                </a:ln>
                <a:solidFill>
                  <a:srgbClr val="817A6C"/>
                </a:solidFill>
                <a:effectLst/>
                <a:uLnTx/>
                <a:uFillTx/>
                <a:latin typeface="Sakkal Majalla" panose="02000000000000000000" pitchFamily="2" charset="-78"/>
                <a:ea typeface="Arial" panose="020B0604020202020204" pitchFamily="34" charset="0"/>
                <a:cs typeface="Janna LT" panose="01000000000000000000"/>
              </a:defRPr>
            </a:lvl1pPr>
          </a:lstStyle>
          <a:p>
            <a:r>
              <a:rPr lang="en-US" sz="1600" dirty="0">
                <a:latin typeface="Arial" panose="020B0604020202020204" pitchFamily="34" charset="0"/>
                <a:cs typeface="Arial" panose="020B0604020202020204" pitchFamily="34" charset="0"/>
                <a:sym typeface="Sakkal Majalla" panose="02000000000000000000" pitchFamily="2" charset="-78"/>
              </a:rPr>
              <a:t>Pharmaceuticals</a:t>
            </a:r>
          </a:p>
        </p:txBody>
      </p:sp>
      <p:cxnSp>
        <p:nvCxnSpPr>
          <p:cNvPr id="40" name="Straight Connector 39">
            <a:extLst>
              <a:ext uri="{FF2B5EF4-FFF2-40B4-BE49-F238E27FC236}">
                <a16:creationId xmlns:a16="http://schemas.microsoft.com/office/drawing/2014/main" id="{D081D03E-C4DE-7368-540F-CCF5A3C9C142}"/>
              </a:ext>
            </a:extLst>
          </p:cNvPr>
          <p:cNvCxnSpPr>
            <a:cxnSpLocks/>
          </p:cNvCxnSpPr>
          <p:nvPr/>
        </p:nvCxnSpPr>
        <p:spPr>
          <a:xfrm>
            <a:off x="7168647" y="2524762"/>
            <a:ext cx="3824304" cy="0"/>
          </a:xfrm>
          <a:prstGeom prst="line">
            <a:avLst/>
          </a:prstGeom>
          <a:ln>
            <a:solidFill>
              <a:srgbClr val="7F600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4F80A63-9A8D-3442-EF25-AA1165AB7D59}"/>
              </a:ext>
            </a:extLst>
          </p:cNvPr>
          <p:cNvCxnSpPr>
            <a:cxnSpLocks/>
          </p:cNvCxnSpPr>
          <p:nvPr/>
        </p:nvCxnSpPr>
        <p:spPr>
          <a:xfrm>
            <a:off x="7204933" y="3773139"/>
            <a:ext cx="3892793" cy="0"/>
          </a:xfrm>
          <a:prstGeom prst="line">
            <a:avLst/>
          </a:prstGeom>
          <a:ln>
            <a:solidFill>
              <a:srgbClr val="7F6000"/>
            </a:solidFill>
          </a:ln>
        </p:spPr>
        <p:style>
          <a:lnRef idx="1">
            <a:schemeClr val="accent1"/>
          </a:lnRef>
          <a:fillRef idx="0">
            <a:schemeClr val="accent1"/>
          </a:fillRef>
          <a:effectRef idx="0">
            <a:schemeClr val="accent1"/>
          </a:effectRef>
          <a:fontRef idx="minor">
            <a:schemeClr val="tx1"/>
          </a:fontRef>
        </p:style>
      </p:cxnSp>
      <p:pic>
        <p:nvPicPr>
          <p:cNvPr id="42" name="Picture 41">
            <a:extLst>
              <a:ext uri="{FF2B5EF4-FFF2-40B4-BE49-F238E27FC236}">
                <a16:creationId xmlns:a16="http://schemas.microsoft.com/office/drawing/2014/main" id="{2CBA72B5-5D30-E6E2-A63F-B399FA06D04C}"/>
              </a:ext>
            </a:extLst>
          </p:cNvPr>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814473" y="1798160"/>
            <a:ext cx="726050" cy="670201"/>
          </a:xfrm>
          <a:prstGeom prst="rect">
            <a:avLst/>
          </a:prstGeom>
        </p:spPr>
      </p:pic>
      <p:pic>
        <p:nvPicPr>
          <p:cNvPr id="43" name="Picture 42">
            <a:extLst>
              <a:ext uri="{FF2B5EF4-FFF2-40B4-BE49-F238E27FC236}">
                <a16:creationId xmlns:a16="http://schemas.microsoft.com/office/drawing/2014/main" id="{0A1FBF96-52E2-968D-41A7-FFD1C4C3C921}"/>
              </a:ext>
            </a:extLst>
          </p:cNvPr>
          <p:cNvPicPr>
            <a:picLocks noChangeAspect="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066315" y="1981106"/>
            <a:ext cx="657144" cy="306668"/>
          </a:xfrm>
          <a:prstGeom prst="rect">
            <a:avLst/>
          </a:prstGeom>
        </p:spPr>
      </p:pic>
      <p:pic>
        <p:nvPicPr>
          <p:cNvPr id="44" name="Picture 43">
            <a:extLst>
              <a:ext uri="{FF2B5EF4-FFF2-40B4-BE49-F238E27FC236}">
                <a16:creationId xmlns:a16="http://schemas.microsoft.com/office/drawing/2014/main" id="{6962AB9E-2D36-92B3-A6F7-BE4410A7C71C}"/>
              </a:ext>
            </a:extLst>
          </p:cNvPr>
          <p:cNvPicPr>
            <a:picLocks noChangeAspect="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479330" y="1826080"/>
            <a:ext cx="460504" cy="488868"/>
          </a:xfrm>
          <a:prstGeom prst="rect">
            <a:avLst/>
          </a:prstGeom>
        </p:spPr>
      </p:pic>
      <p:pic>
        <p:nvPicPr>
          <p:cNvPr id="45" name="Picture 44">
            <a:extLst>
              <a:ext uri="{FF2B5EF4-FFF2-40B4-BE49-F238E27FC236}">
                <a16:creationId xmlns:a16="http://schemas.microsoft.com/office/drawing/2014/main" id="{06BAEB62-06E8-64BA-7B3B-A4AAEF8BDADC}"/>
              </a:ext>
            </a:extLst>
          </p:cNvPr>
          <p:cNvPicPr>
            <a:picLocks noChangeAspect="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792343" y="1744156"/>
            <a:ext cx="620044" cy="620045"/>
          </a:xfrm>
          <a:prstGeom prst="rect">
            <a:avLst/>
          </a:prstGeom>
        </p:spPr>
      </p:pic>
      <p:pic>
        <p:nvPicPr>
          <p:cNvPr id="46" name="Picture 45">
            <a:extLst>
              <a:ext uri="{FF2B5EF4-FFF2-40B4-BE49-F238E27FC236}">
                <a16:creationId xmlns:a16="http://schemas.microsoft.com/office/drawing/2014/main" id="{A0BB92C3-1633-6A89-02D6-536465943C77}"/>
              </a:ext>
            </a:extLst>
          </p:cNvPr>
          <p:cNvPicPr>
            <a:picLocks noChangeAspect="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864269" y="1782584"/>
            <a:ext cx="851648" cy="638060"/>
          </a:xfrm>
          <a:prstGeom prst="rect">
            <a:avLst/>
          </a:prstGeom>
        </p:spPr>
      </p:pic>
      <p:pic>
        <p:nvPicPr>
          <p:cNvPr id="47" name="Picture 46">
            <a:extLst>
              <a:ext uri="{FF2B5EF4-FFF2-40B4-BE49-F238E27FC236}">
                <a16:creationId xmlns:a16="http://schemas.microsoft.com/office/drawing/2014/main" id="{5054AFFE-3E85-031E-4285-0342F3CC258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343634" y="1981105"/>
            <a:ext cx="351892" cy="309496"/>
          </a:xfrm>
          <a:prstGeom prst="rect">
            <a:avLst/>
          </a:prstGeom>
        </p:spPr>
      </p:pic>
      <p:pic>
        <p:nvPicPr>
          <p:cNvPr id="48" name="Picture 47">
            <a:extLst>
              <a:ext uri="{FF2B5EF4-FFF2-40B4-BE49-F238E27FC236}">
                <a16:creationId xmlns:a16="http://schemas.microsoft.com/office/drawing/2014/main" id="{89BC30EC-D93E-FB61-1BF1-A7AD29003F06}"/>
              </a:ext>
            </a:extLst>
          </p:cNvPr>
          <p:cNvPicPr>
            <a:picLocks noChangeAspect="1"/>
          </p:cNvPicPr>
          <p:nvPr/>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255793" y="3028213"/>
            <a:ext cx="2015532" cy="620549"/>
          </a:xfrm>
          <a:prstGeom prst="rect">
            <a:avLst/>
          </a:prstGeom>
        </p:spPr>
      </p:pic>
      <p:pic>
        <p:nvPicPr>
          <p:cNvPr id="49" name="Picture 48">
            <a:extLst>
              <a:ext uri="{FF2B5EF4-FFF2-40B4-BE49-F238E27FC236}">
                <a16:creationId xmlns:a16="http://schemas.microsoft.com/office/drawing/2014/main" id="{DA2276AA-9C1E-606A-2860-94A0F61E9956}"/>
              </a:ext>
            </a:extLst>
          </p:cNvPr>
          <p:cNvPicPr>
            <a:picLocks noChangeAspect="1"/>
          </p:cNvPicPr>
          <p:nvPr/>
        </p:nvPicPr>
        <p:blipFill>
          <a:blip r:embed="rId11"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607107" y="3014440"/>
            <a:ext cx="682241" cy="682241"/>
          </a:xfrm>
          <a:prstGeom prst="rect">
            <a:avLst/>
          </a:prstGeom>
        </p:spPr>
      </p:pic>
      <p:pic>
        <p:nvPicPr>
          <p:cNvPr id="50" name="Picture 49">
            <a:extLst>
              <a:ext uri="{FF2B5EF4-FFF2-40B4-BE49-F238E27FC236}">
                <a16:creationId xmlns:a16="http://schemas.microsoft.com/office/drawing/2014/main" id="{E57FAC51-3183-9CE6-D103-A0327244BD54}"/>
              </a:ext>
            </a:extLst>
          </p:cNvPr>
          <p:cNvPicPr>
            <a:picLocks noChangeAspect="1"/>
          </p:cNvPicPr>
          <p:nvPr/>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441113" y="2834807"/>
            <a:ext cx="1017031" cy="1017031"/>
          </a:xfrm>
          <a:prstGeom prst="rect">
            <a:avLst/>
          </a:prstGeom>
        </p:spPr>
      </p:pic>
      <p:sp>
        <p:nvSpPr>
          <p:cNvPr id="51" name="TextBox 50">
            <a:extLst>
              <a:ext uri="{FF2B5EF4-FFF2-40B4-BE49-F238E27FC236}">
                <a16:creationId xmlns:a16="http://schemas.microsoft.com/office/drawing/2014/main" id="{BE89E7FC-4060-83DB-FC56-0BDA21AAECD9}"/>
              </a:ext>
            </a:extLst>
          </p:cNvPr>
          <p:cNvSpPr txBox="1"/>
          <p:nvPr/>
        </p:nvSpPr>
        <p:spPr>
          <a:xfrm>
            <a:off x="7013369" y="3805172"/>
            <a:ext cx="4527154" cy="575542"/>
          </a:xfrm>
          <a:prstGeom prst="rect">
            <a:avLst/>
          </a:prstGeom>
          <a:noFill/>
        </p:spPr>
        <p:txBody>
          <a:bodyPr wrap="square" lIns="82296" tIns="41148" rIns="82296" bIns="41148" anchor="ctr">
            <a:spAutoFit/>
          </a:bodyPr>
          <a:lstStyle>
            <a:defPPr>
              <a:defRPr lang="en-US"/>
            </a:defPPr>
            <a:lvl1pPr marR="0" lvl="0" indent="0" algn="ctr" rtl="1" fontAlgn="auto">
              <a:lnSpc>
                <a:spcPct val="100000"/>
              </a:lnSpc>
              <a:spcBef>
                <a:spcPts val="0"/>
              </a:spcBef>
              <a:spcAft>
                <a:spcPts val="600"/>
              </a:spcAft>
              <a:buClrTx/>
              <a:buSzTx/>
              <a:buFontTx/>
              <a:buNone/>
              <a:tabLst/>
              <a:defRPr kumimoji="0" b="1" i="0" u="none" strike="noStrike" cap="none" spc="0" normalizeH="0" baseline="0">
                <a:ln>
                  <a:noFill/>
                </a:ln>
                <a:solidFill>
                  <a:srgbClr val="817A6C"/>
                </a:solidFill>
                <a:effectLst/>
                <a:uLnTx/>
                <a:uFillTx/>
                <a:latin typeface="Sakkal Majalla" panose="02000000000000000000" pitchFamily="2" charset="-78"/>
                <a:ea typeface="Arial" panose="020B0604020202020204" pitchFamily="34" charset="0"/>
                <a:cs typeface="Janna LT" panose="01000000000000000000"/>
              </a:defRPr>
            </a:lvl1pPr>
          </a:lstStyle>
          <a:p>
            <a:r>
              <a:rPr lang="en-US" sz="1600" dirty="0">
                <a:latin typeface="Arial" panose="020B0604020202020204" pitchFamily="34" charset="0"/>
                <a:cs typeface="Arial" panose="020B0604020202020204" pitchFamily="34" charset="0"/>
                <a:sym typeface="Sakkal Majalla" panose="02000000000000000000" pitchFamily="2" charset="-78"/>
              </a:rPr>
              <a:t>Chemicals, Plastics, and Processed Products</a:t>
            </a:r>
          </a:p>
        </p:txBody>
      </p:sp>
      <p:cxnSp>
        <p:nvCxnSpPr>
          <p:cNvPr id="52" name="Straight Connector 51">
            <a:extLst>
              <a:ext uri="{FF2B5EF4-FFF2-40B4-BE49-F238E27FC236}">
                <a16:creationId xmlns:a16="http://schemas.microsoft.com/office/drawing/2014/main" id="{255F8477-56D9-34E6-88ED-B4DF78E09ECC}"/>
              </a:ext>
            </a:extLst>
          </p:cNvPr>
          <p:cNvCxnSpPr>
            <a:cxnSpLocks/>
          </p:cNvCxnSpPr>
          <p:nvPr/>
        </p:nvCxnSpPr>
        <p:spPr>
          <a:xfrm>
            <a:off x="7204933" y="4907871"/>
            <a:ext cx="3892793" cy="0"/>
          </a:xfrm>
          <a:prstGeom prst="line">
            <a:avLst/>
          </a:prstGeom>
          <a:ln>
            <a:solidFill>
              <a:srgbClr val="7F6000"/>
            </a:solidFill>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F65A3126-DC9A-020A-AEDF-CEC6766104F6}"/>
              </a:ext>
            </a:extLst>
          </p:cNvPr>
          <p:cNvGrpSpPr/>
          <p:nvPr/>
        </p:nvGrpSpPr>
        <p:grpSpPr>
          <a:xfrm>
            <a:off x="7487469" y="4136045"/>
            <a:ext cx="3311413" cy="868715"/>
            <a:chOff x="9224722" y="3075973"/>
            <a:chExt cx="12556441" cy="3294053"/>
          </a:xfrm>
        </p:grpSpPr>
        <p:pic>
          <p:nvPicPr>
            <p:cNvPr id="54" name="Picture 53">
              <a:extLst>
                <a:ext uri="{FF2B5EF4-FFF2-40B4-BE49-F238E27FC236}">
                  <a16:creationId xmlns:a16="http://schemas.microsoft.com/office/drawing/2014/main" id="{279459C7-7342-4A67-7194-7859F528E804}"/>
                </a:ext>
              </a:extLst>
            </p:cNvPr>
            <p:cNvPicPr>
              <a:picLocks noChangeAspect="1"/>
            </p:cNvPicPr>
            <p:nvPr/>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9887949" y="3719877"/>
              <a:ext cx="1893214" cy="1893214"/>
            </a:xfrm>
            <a:prstGeom prst="rect">
              <a:avLst/>
            </a:prstGeom>
          </p:spPr>
        </p:pic>
        <p:pic>
          <p:nvPicPr>
            <p:cNvPr id="55" name="Picture 54">
              <a:extLst>
                <a:ext uri="{FF2B5EF4-FFF2-40B4-BE49-F238E27FC236}">
                  <a16:creationId xmlns:a16="http://schemas.microsoft.com/office/drawing/2014/main" id="{4FD0A2B5-7C23-95A9-B467-961F7E587E7E}"/>
                </a:ext>
              </a:extLst>
            </p:cNvPr>
            <p:cNvPicPr>
              <a:picLocks noChangeAspect="1"/>
            </p:cNvPicPr>
            <p:nvPr/>
          </p:nvPicPr>
          <p:blipFill>
            <a:blip r:embed="rId1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7024867" y="3916233"/>
              <a:ext cx="2305050" cy="1613535"/>
            </a:xfrm>
            <a:prstGeom prst="rect">
              <a:avLst/>
            </a:prstGeom>
          </p:spPr>
        </p:pic>
        <p:pic>
          <p:nvPicPr>
            <p:cNvPr id="56" name="Picture 55">
              <a:extLst>
                <a:ext uri="{FF2B5EF4-FFF2-40B4-BE49-F238E27FC236}">
                  <a16:creationId xmlns:a16="http://schemas.microsoft.com/office/drawing/2014/main" id="{E172153E-6CDA-5267-FB29-CD7A3749BD05}"/>
                </a:ext>
              </a:extLst>
            </p:cNvPr>
            <p:cNvPicPr>
              <a:picLocks noChangeAspect="1"/>
            </p:cNvPicPr>
            <p:nvPr/>
          </p:nvPicPr>
          <p:blipFill>
            <a:blip r:embed="rId1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2731960" y="4117924"/>
              <a:ext cx="3985804" cy="1594321"/>
            </a:xfrm>
            <a:prstGeom prst="rect">
              <a:avLst/>
            </a:prstGeom>
          </p:spPr>
        </p:pic>
        <p:pic>
          <p:nvPicPr>
            <p:cNvPr id="57" name="Picture 56">
              <a:extLst>
                <a:ext uri="{FF2B5EF4-FFF2-40B4-BE49-F238E27FC236}">
                  <a16:creationId xmlns:a16="http://schemas.microsoft.com/office/drawing/2014/main" id="{88F9F68B-B5F8-BF04-F105-1BB9D3AB80BF}"/>
                </a:ext>
              </a:extLst>
            </p:cNvPr>
            <p:cNvPicPr>
              <a:picLocks noChangeAspect="1"/>
            </p:cNvPicPr>
            <p:nvPr/>
          </p:nvPicPr>
          <p:blipFill>
            <a:blip r:embed="rId1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224722" y="3075973"/>
              <a:ext cx="3294053" cy="3294053"/>
            </a:xfrm>
            <a:prstGeom prst="rect">
              <a:avLst/>
            </a:prstGeom>
          </p:spPr>
        </p:pic>
      </p:grpSp>
      <p:sp>
        <p:nvSpPr>
          <p:cNvPr id="58" name="TextBox 57">
            <a:extLst>
              <a:ext uri="{FF2B5EF4-FFF2-40B4-BE49-F238E27FC236}">
                <a16:creationId xmlns:a16="http://schemas.microsoft.com/office/drawing/2014/main" id="{383218B4-D1CB-20DE-F38C-44695C75D25B}"/>
              </a:ext>
            </a:extLst>
          </p:cNvPr>
          <p:cNvSpPr txBox="1"/>
          <p:nvPr/>
        </p:nvSpPr>
        <p:spPr>
          <a:xfrm>
            <a:off x="7013369" y="5090846"/>
            <a:ext cx="4527154" cy="338554"/>
          </a:xfrm>
          <a:prstGeom prst="rect">
            <a:avLst/>
          </a:prstGeom>
          <a:noFill/>
        </p:spPr>
        <p:txBody>
          <a:bodyPr wrap="square">
            <a:spAutoFit/>
          </a:bodyPr>
          <a:lstStyle/>
          <a:p>
            <a:pPr algn="ctr">
              <a:spcAft>
                <a:spcPts val="600"/>
              </a:spcAft>
            </a:pPr>
            <a:r>
              <a:rPr lang="en-US" sz="1600" b="1" i="0" u="none" baseline="0" dirty="0">
                <a:solidFill>
                  <a:srgbClr val="817A6C"/>
                </a:solidFill>
                <a:latin typeface="Arial" panose="020B0604020202020204" pitchFamily="34" charset="0"/>
                <a:ea typeface="Arial" panose="020B0604020202020204" pitchFamily="34" charset="0"/>
                <a:cs typeface="Arial" panose="020B0604020202020204" pitchFamily="34" charset="0"/>
                <a:sym typeface="Sakkal Majalla" panose="02000000000000000000" pitchFamily="2" charset="-78"/>
              </a:rPr>
              <a:t>Metals and Processed Products</a:t>
            </a:r>
            <a:endParaRPr lang="ar-AE" sz="1600" b="1" i="0" u="none" baseline="0" dirty="0">
              <a:solidFill>
                <a:srgbClr val="817A6C"/>
              </a:solidFill>
              <a:latin typeface="Arial" panose="020B0604020202020204" pitchFamily="34" charset="0"/>
              <a:ea typeface="Arial" panose="020B0604020202020204" pitchFamily="34" charset="0"/>
              <a:cs typeface="Arial" panose="020B0604020202020204" pitchFamily="34" charset="0"/>
              <a:sym typeface="Sakkal Majalla" panose="02000000000000000000" pitchFamily="2" charset="-78"/>
            </a:endParaRPr>
          </a:p>
        </p:txBody>
      </p:sp>
      <p:cxnSp>
        <p:nvCxnSpPr>
          <p:cNvPr id="59" name="Straight Connector 58">
            <a:extLst>
              <a:ext uri="{FF2B5EF4-FFF2-40B4-BE49-F238E27FC236}">
                <a16:creationId xmlns:a16="http://schemas.microsoft.com/office/drawing/2014/main" id="{38240975-5B84-00AF-00D3-E5EBF906E6C9}"/>
              </a:ext>
            </a:extLst>
          </p:cNvPr>
          <p:cNvCxnSpPr>
            <a:cxnSpLocks/>
          </p:cNvCxnSpPr>
          <p:nvPr/>
        </p:nvCxnSpPr>
        <p:spPr>
          <a:xfrm>
            <a:off x="7309396" y="6149082"/>
            <a:ext cx="3892793" cy="0"/>
          </a:xfrm>
          <a:prstGeom prst="line">
            <a:avLst/>
          </a:prstGeom>
          <a:ln>
            <a:solidFill>
              <a:srgbClr val="7F6000"/>
            </a:solidFill>
          </a:ln>
        </p:spPr>
        <p:style>
          <a:lnRef idx="1">
            <a:schemeClr val="accent1"/>
          </a:lnRef>
          <a:fillRef idx="0">
            <a:schemeClr val="accent1"/>
          </a:fillRef>
          <a:effectRef idx="0">
            <a:schemeClr val="accent1"/>
          </a:effectRef>
          <a:fontRef idx="minor">
            <a:schemeClr val="tx1"/>
          </a:fontRef>
        </p:style>
      </p:cxnSp>
      <p:pic>
        <p:nvPicPr>
          <p:cNvPr id="60" name="Picture 59">
            <a:extLst>
              <a:ext uri="{FF2B5EF4-FFF2-40B4-BE49-F238E27FC236}">
                <a16:creationId xmlns:a16="http://schemas.microsoft.com/office/drawing/2014/main" id="{9F684475-5DA0-1A1F-F60F-ED22D1C7EC5F}"/>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9758214" y="5621812"/>
            <a:ext cx="586120" cy="291493"/>
          </a:xfrm>
          <a:prstGeom prst="rect">
            <a:avLst/>
          </a:prstGeom>
        </p:spPr>
      </p:pic>
      <p:pic>
        <p:nvPicPr>
          <p:cNvPr id="61" name="Picture 60">
            <a:extLst>
              <a:ext uri="{FF2B5EF4-FFF2-40B4-BE49-F238E27FC236}">
                <a16:creationId xmlns:a16="http://schemas.microsoft.com/office/drawing/2014/main" id="{4134042A-7FC8-DC67-9A3F-57C73082485D}"/>
              </a:ext>
            </a:extLst>
          </p:cNvPr>
          <p:cNvPicPr>
            <a:picLocks noChangeAspect="1"/>
          </p:cNvPicPr>
          <p:nvPr/>
        </p:nvPicPr>
        <p:blipFill>
          <a:blip r:embed="rId1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912705" y="5477227"/>
            <a:ext cx="621898" cy="621898"/>
          </a:xfrm>
          <a:prstGeom prst="rect">
            <a:avLst/>
          </a:prstGeom>
        </p:spPr>
      </p:pic>
      <p:pic>
        <p:nvPicPr>
          <p:cNvPr id="62" name="Picture 61">
            <a:extLst>
              <a:ext uri="{FF2B5EF4-FFF2-40B4-BE49-F238E27FC236}">
                <a16:creationId xmlns:a16="http://schemas.microsoft.com/office/drawing/2014/main" id="{BAE117D7-2085-BD3E-9883-00E55A863ACF}"/>
              </a:ext>
            </a:extLst>
          </p:cNvPr>
          <p:cNvPicPr>
            <a:picLocks noChangeAspect="1"/>
          </p:cNvPicPr>
          <p:nvPr/>
        </p:nvPicPr>
        <p:blipFill>
          <a:blip r:embed="rId1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836935" y="5227970"/>
            <a:ext cx="1053212" cy="1053212"/>
          </a:xfrm>
          <a:prstGeom prst="rect">
            <a:avLst/>
          </a:prstGeom>
        </p:spPr>
      </p:pic>
      <p:sp>
        <p:nvSpPr>
          <p:cNvPr id="63" name="Rectangle 17">
            <a:extLst>
              <a:ext uri="{FF2B5EF4-FFF2-40B4-BE49-F238E27FC236}">
                <a16:creationId xmlns:a16="http://schemas.microsoft.com/office/drawing/2014/main" id="{8AD8370B-8F91-852E-72B4-49270A82EFED}"/>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64" name="Title 2">
            <a:extLst>
              <a:ext uri="{FF2B5EF4-FFF2-40B4-BE49-F238E27FC236}">
                <a16:creationId xmlns:a16="http://schemas.microsoft.com/office/drawing/2014/main" id="{6D723913-1122-46EE-53AA-AA70FC6B6799}"/>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Overview of Qatar’s Economy and Industrial Sector</a:t>
            </a:r>
          </a:p>
        </p:txBody>
      </p:sp>
      <p:cxnSp>
        <p:nvCxnSpPr>
          <p:cNvPr id="65" name="Straight Connector 64">
            <a:extLst>
              <a:ext uri="{FF2B5EF4-FFF2-40B4-BE49-F238E27FC236}">
                <a16:creationId xmlns:a16="http://schemas.microsoft.com/office/drawing/2014/main" id="{FBD55B46-E95F-A938-87E8-5008D593F0DB}"/>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779E9FAC-B3F7-47B8-612E-0787AD1577D2}"/>
              </a:ext>
            </a:extLst>
          </p:cNvPr>
          <p:cNvSpPr>
            <a:spLocks/>
          </p:cNvSpPr>
          <p:nvPr/>
        </p:nvSpPr>
        <p:spPr>
          <a:xfrm flipH="1">
            <a:off x="4435244" y="1706506"/>
            <a:ext cx="971005" cy="41819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80000"/>
              </a:lnSpc>
              <a:spcBef>
                <a:spcPts val="0"/>
              </a:spcBef>
              <a:spcAft>
                <a:spcPts val="0"/>
              </a:spcAft>
              <a:buClrTx/>
              <a:buSzTx/>
              <a:buFontTx/>
              <a:buNone/>
              <a:tabLst/>
              <a:defRPr/>
            </a:pPr>
            <a:r>
              <a:rPr lang="en-US" sz="1200" b="1" dirty="0">
                <a:solidFill>
                  <a:srgbClr val="817A6C"/>
                </a:solidFill>
                <a:latin typeface="Arial" panose="020B0604020202020204" pitchFamily="34" charset="0"/>
                <a:ea typeface="Arial" panose="020B0604020202020204" pitchFamily="34" charset="0"/>
                <a:cs typeface="Arial" panose="020B0604020202020204" pitchFamily="34" charset="0"/>
                <a:sym typeface="Sakkal Majalla" panose="02000000000000000000" pitchFamily="2" charset="-78"/>
              </a:rPr>
              <a:t>$213 billion USD</a:t>
            </a:r>
            <a:endParaRPr kumimoji="0" lang="ar" sz="1200" b="1" i="1"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67" name="TextBox 66">
            <a:extLst>
              <a:ext uri="{FF2B5EF4-FFF2-40B4-BE49-F238E27FC236}">
                <a16:creationId xmlns:a16="http://schemas.microsoft.com/office/drawing/2014/main" id="{92B53FCD-D8BB-D41B-DF64-63D5E4678509}"/>
              </a:ext>
            </a:extLst>
          </p:cNvPr>
          <p:cNvSpPr txBox="1">
            <a:spLocks/>
          </p:cNvSpPr>
          <p:nvPr/>
        </p:nvSpPr>
        <p:spPr>
          <a:xfrm flipH="1">
            <a:off x="1577158" y="1755506"/>
            <a:ext cx="2491092" cy="267766"/>
          </a:xfrm>
          <a:prstGeom prst="rect">
            <a:avLst/>
          </a:prstGeom>
          <a:noFill/>
        </p:spPr>
        <p:txBody>
          <a:bodyPr wrap="square" lIns="82296" tIns="41148" rIns="82296" bIns="41148" anchor="ctr">
            <a:spAutoFit/>
          </a:bodyPr>
          <a:lstStyle/>
          <a:p>
            <a:pPr marL="0" marR="0" lvl="0" indent="0" defTabSz="914400" rtl="1"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817A6C"/>
                </a:solidFill>
                <a:effectLst/>
                <a:uLnTx/>
                <a:uFillTx/>
                <a:latin typeface="Arial" panose="020B0604020202020204" pitchFamily="34" charset="0"/>
                <a:ea typeface="Arial" panose="020B0604020202020204" pitchFamily="34" charset="0"/>
                <a:cs typeface="Arial" panose="020B0604020202020204" pitchFamily="34" charset="0"/>
                <a:sym typeface="Sakkal Majalla" panose="02000000000000000000" pitchFamily="2" charset="-78"/>
              </a:rPr>
              <a:t>Qatar’s GDP (2023)</a:t>
            </a:r>
            <a:endParaRPr kumimoji="0" lang="ar"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68" name="TextBox 67">
            <a:extLst>
              <a:ext uri="{FF2B5EF4-FFF2-40B4-BE49-F238E27FC236}">
                <a16:creationId xmlns:a16="http://schemas.microsoft.com/office/drawing/2014/main" id="{A8C10FBD-72AC-4AD6-5BD5-7A62989CC20C}"/>
              </a:ext>
            </a:extLst>
          </p:cNvPr>
          <p:cNvSpPr txBox="1">
            <a:spLocks/>
          </p:cNvSpPr>
          <p:nvPr/>
        </p:nvSpPr>
        <p:spPr>
          <a:xfrm flipH="1">
            <a:off x="1577158" y="3449354"/>
            <a:ext cx="2491092" cy="184666"/>
          </a:xfrm>
          <a:prstGeom prst="rect">
            <a:avLst/>
          </a:prstGeom>
          <a:noFill/>
        </p:spPr>
        <p:txBody>
          <a:bodyPr wrap="square" lIns="0" tIns="0" rIns="0" bIns="0" anchor="ctr">
            <a:spAutoFit/>
          </a:bodyPr>
          <a:lstStyle/>
          <a:p>
            <a:pPr marL="0" marR="0" lvl="0" indent="0" defTabSz="914400" rtl="1"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Total Exports (2023)</a:t>
            </a:r>
            <a:endParaRPr kumimoji="0" lang="ar-AE"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69" name="Rectangle 68">
            <a:extLst>
              <a:ext uri="{FF2B5EF4-FFF2-40B4-BE49-F238E27FC236}">
                <a16:creationId xmlns:a16="http://schemas.microsoft.com/office/drawing/2014/main" id="{F5FAAA29-7E98-2B37-A1AC-8E25EC057D4A}"/>
              </a:ext>
            </a:extLst>
          </p:cNvPr>
          <p:cNvSpPr>
            <a:spLocks/>
          </p:cNvSpPr>
          <p:nvPr/>
        </p:nvSpPr>
        <p:spPr>
          <a:xfrm flipH="1">
            <a:off x="4082315" y="3359653"/>
            <a:ext cx="1313577" cy="41819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17A6C"/>
                </a:solidFill>
                <a:effectLst/>
                <a:uLnTx/>
                <a:uFillTx/>
                <a:latin typeface="Arial" panose="020B0604020202020204" pitchFamily="34" charset="0"/>
                <a:ea typeface="Arial" panose="020B0604020202020204" pitchFamily="34" charset="0"/>
                <a:cs typeface="Arial" panose="020B0604020202020204" pitchFamily="34" charset="0"/>
                <a:sym typeface="Sakkal Majalla" panose="02000000000000000000" pitchFamily="2" charset="-78"/>
              </a:rPr>
              <a:t>$97 billion USD</a:t>
            </a:r>
            <a:endParaRPr kumimoji="0" lang="ar"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70" name="Rectangle 69">
            <a:extLst>
              <a:ext uri="{FF2B5EF4-FFF2-40B4-BE49-F238E27FC236}">
                <a16:creationId xmlns:a16="http://schemas.microsoft.com/office/drawing/2014/main" id="{EA7A2837-3097-FF3D-961D-A9F46F672191}"/>
              </a:ext>
            </a:extLst>
          </p:cNvPr>
          <p:cNvSpPr>
            <a:spLocks/>
          </p:cNvSpPr>
          <p:nvPr/>
        </p:nvSpPr>
        <p:spPr>
          <a:xfrm flipH="1">
            <a:off x="4461394" y="4256921"/>
            <a:ext cx="944855" cy="41819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80000"/>
              </a:lnSpc>
              <a:spcBef>
                <a:spcPts val="0"/>
              </a:spcBef>
              <a:spcAft>
                <a:spcPts val="0"/>
              </a:spcAft>
              <a:buClrTx/>
              <a:buSzTx/>
              <a:buFontTx/>
              <a:buNone/>
              <a:tabLst/>
              <a:defRPr/>
            </a:pPr>
            <a:r>
              <a:rPr lang="en-US" sz="1200" b="1" i="1" dirty="0">
                <a:solidFill>
                  <a:srgbClr val="817A6C"/>
                </a:solidFill>
                <a:latin typeface="Arial" panose="020B0604020202020204" pitchFamily="34" charset="0"/>
                <a:cs typeface="Arial" panose="020B0604020202020204" pitchFamily="34" charset="0"/>
                <a:sym typeface="Sakkal Majalla" panose="02000000000000000000" pitchFamily="2" charset="-78"/>
              </a:rPr>
              <a:t>$36 billion USD</a:t>
            </a:r>
            <a:endParaRPr kumimoji="0" lang="ar"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71" name="TextBox 70">
            <a:extLst>
              <a:ext uri="{FF2B5EF4-FFF2-40B4-BE49-F238E27FC236}">
                <a16:creationId xmlns:a16="http://schemas.microsoft.com/office/drawing/2014/main" id="{27594CBB-EE78-8B64-A475-E12CB7EA586D}"/>
              </a:ext>
            </a:extLst>
          </p:cNvPr>
          <p:cNvSpPr txBox="1">
            <a:spLocks/>
          </p:cNvSpPr>
          <p:nvPr/>
        </p:nvSpPr>
        <p:spPr>
          <a:xfrm flipH="1">
            <a:off x="1576800" y="4328615"/>
            <a:ext cx="2491091" cy="184666"/>
          </a:xfrm>
          <a:prstGeom prst="rect">
            <a:avLst/>
          </a:prstGeom>
          <a:noFill/>
        </p:spPr>
        <p:txBody>
          <a:bodyPr wrap="square" lIns="0" tIns="0" rIns="0" bIns="0" anchor="ctr">
            <a:spAutoFit/>
          </a:bodyPr>
          <a:lstStyle/>
          <a:p>
            <a:pPr marL="0" marR="0" lvl="0" indent="0" defTabSz="914400" rtl="1"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Industrial Exports (2023)</a:t>
            </a:r>
            <a:endParaRPr kumimoji="0" lang="ar" sz="1200" b="1" i="0" u="none" strike="noStrike" kern="1200" cap="none" spc="0" normalizeH="0" baseline="3000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72" name="TextBox 71">
            <a:extLst>
              <a:ext uri="{FF2B5EF4-FFF2-40B4-BE49-F238E27FC236}">
                <a16:creationId xmlns:a16="http://schemas.microsoft.com/office/drawing/2014/main" id="{45C34616-1157-4269-127C-05463B99050C}"/>
              </a:ext>
            </a:extLst>
          </p:cNvPr>
          <p:cNvSpPr txBox="1">
            <a:spLocks/>
          </p:cNvSpPr>
          <p:nvPr/>
        </p:nvSpPr>
        <p:spPr>
          <a:xfrm flipH="1">
            <a:off x="1576799" y="5302890"/>
            <a:ext cx="2491092" cy="184666"/>
          </a:xfrm>
          <a:prstGeom prst="rect">
            <a:avLst/>
          </a:prstGeom>
          <a:noFill/>
        </p:spPr>
        <p:txBody>
          <a:bodyPr wrap="square" lIns="0" tIns="0" rIns="0" bIns="0" anchor="ctr">
            <a:spAutoFit/>
          </a:bodyPr>
          <a:lstStyle/>
          <a:p>
            <a:pPr marL="0" marR="0" lvl="0" indent="0" defTabSz="914400" rtl="1"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Total Imports (2023)</a:t>
            </a:r>
            <a:endParaRPr kumimoji="0" lang="ar-AE"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73" name="Rectangle 72">
            <a:extLst>
              <a:ext uri="{FF2B5EF4-FFF2-40B4-BE49-F238E27FC236}">
                <a16:creationId xmlns:a16="http://schemas.microsoft.com/office/drawing/2014/main" id="{AAB4726B-142E-8CAE-2DFD-FCA348EE691A}"/>
              </a:ext>
            </a:extLst>
          </p:cNvPr>
          <p:cNvSpPr>
            <a:spLocks/>
          </p:cNvSpPr>
          <p:nvPr/>
        </p:nvSpPr>
        <p:spPr>
          <a:xfrm flipH="1">
            <a:off x="3296089" y="5342708"/>
            <a:ext cx="2110160" cy="14773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r" defTabSz="914400" rtl="1"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17A6C"/>
                </a:solidFill>
                <a:effectLst/>
                <a:uLnTx/>
                <a:uFillTx/>
                <a:latin typeface="Arial" panose="020B0604020202020204" pitchFamily="34" charset="0"/>
                <a:ea typeface="Arial" panose="020B0604020202020204" pitchFamily="34" charset="0"/>
                <a:cs typeface="Arial" panose="020B0604020202020204" pitchFamily="34" charset="0"/>
                <a:sym typeface="Sakkal Majalla" panose="02000000000000000000" pitchFamily="2" charset="-78"/>
              </a:rPr>
              <a:t>$31 billion USD</a:t>
            </a:r>
            <a:endParaRPr kumimoji="0" lang="ar"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74" name="TextBox 73">
            <a:extLst>
              <a:ext uri="{FF2B5EF4-FFF2-40B4-BE49-F238E27FC236}">
                <a16:creationId xmlns:a16="http://schemas.microsoft.com/office/drawing/2014/main" id="{55A163AA-7FB0-71DF-9C33-58AF6C023FB6}"/>
              </a:ext>
            </a:extLst>
          </p:cNvPr>
          <p:cNvSpPr txBox="1">
            <a:spLocks/>
          </p:cNvSpPr>
          <p:nvPr/>
        </p:nvSpPr>
        <p:spPr>
          <a:xfrm flipH="1">
            <a:off x="1558104" y="6098269"/>
            <a:ext cx="2491092" cy="184666"/>
          </a:xfrm>
          <a:prstGeom prst="rect">
            <a:avLst/>
          </a:prstGeom>
          <a:noFill/>
        </p:spPr>
        <p:txBody>
          <a:bodyPr wrap="square" lIns="0" tIns="0" rIns="0" bIns="0" anchor="ctr">
            <a:spAutoFit/>
          </a:bodyPr>
          <a:lstStyle/>
          <a:p>
            <a:pPr marL="0" marR="0" lvl="0" indent="0" defTabSz="914400" rtl="1" eaLnBrk="1" fontAlgn="auto" latinLnBrk="0" hangingPunct="1">
              <a:lnSpc>
                <a:spcPct val="100000"/>
              </a:lnSpc>
              <a:spcBef>
                <a:spcPts val="0"/>
              </a:spcBef>
              <a:spcAft>
                <a:spcPts val="0"/>
              </a:spcAft>
              <a:buClrTx/>
              <a:buSzTx/>
              <a:buFontTx/>
              <a:buNone/>
              <a:tabLst/>
              <a:defRPr/>
            </a:pPr>
            <a:r>
              <a:rPr lang="en-US" sz="1200" b="1" dirty="0">
                <a:solidFill>
                  <a:srgbClr val="817A6C"/>
                </a:solidFill>
                <a:latin typeface="Arial" panose="020B0604020202020204" pitchFamily="34" charset="0"/>
                <a:cs typeface="Arial" panose="020B0604020202020204" pitchFamily="34" charset="0"/>
                <a:sym typeface="Sakkal Majalla" panose="02000000000000000000" pitchFamily="2" charset="-78"/>
              </a:rPr>
              <a:t>Population </a:t>
            </a:r>
            <a:endParaRPr kumimoji="0" lang="ar-AE"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75" name="Rectangle 74">
            <a:extLst>
              <a:ext uri="{FF2B5EF4-FFF2-40B4-BE49-F238E27FC236}">
                <a16:creationId xmlns:a16="http://schemas.microsoft.com/office/drawing/2014/main" id="{B30565CD-07C1-B013-B34D-36F2AFE035AF}"/>
              </a:ext>
            </a:extLst>
          </p:cNvPr>
          <p:cNvSpPr>
            <a:spLocks/>
          </p:cNvSpPr>
          <p:nvPr/>
        </p:nvSpPr>
        <p:spPr>
          <a:xfrm flipH="1">
            <a:off x="3072776" y="6149082"/>
            <a:ext cx="2110160" cy="14773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r" defTabSz="914400" rtl="1" eaLnBrk="1" fontAlgn="auto" latinLnBrk="0" hangingPunct="1">
              <a:lnSpc>
                <a:spcPct val="8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17A6C"/>
                </a:solidFill>
                <a:effectLst/>
                <a:uLnTx/>
                <a:uFillTx/>
                <a:latin typeface="Arial" panose="020B0604020202020204" pitchFamily="34" charset="0"/>
                <a:ea typeface="Arial" panose="020B0604020202020204" pitchFamily="34" charset="0"/>
                <a:cs typeface="Arial" panose="020B0604020202020204" pitchFamily="34" charset="0"/>
                <a:sym typeface="Sakkal Majalla" panose="02000000000000000000" pitchFamily="2" charset="-78"/>
              </a:rPr>
              <a:t>3.19 million</a:t>
            </a:r>
            <a:endParaRPr kumimoji="0" lang="ar" sz="1200" b="1" i="1"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76" name="TextBox 75">
            <a:extLst>
              <a:ext uri="{FF2B5EF4-FFF2-40B4-BE49-F238E27FC236}">
                <a16:creationId xmlns:a16="http://schemas.microsoft.com/office/drawing/2014/main" id="{83F9C775-E282-0BEC-ED05-AD5B30D45C7A}"/>
              </a:ext>
            </a:extLst>
          </p:cNvPr>
          <p:cNvSpPr txBox="1">
            <a:spLocks/>
          </p:cNvSpPr>
          <p:nvPr/>
        </p:nvSpPr>
        <p:spPr>
          <a:xfrm flipH="1">
            <a:off x="1606853" y="2535216"/>
            <a:ext cx="2241649" cy="369332"/>
          </a:xfrm>
          <a:prstGeom prst="rect">
            <a:avLst/>
          </a:prstGeom>
          <a:noFill/>
        </p:spPr>
        <p:txBody>
          <a:bodyPr wrap="square" lIns="0" tIns="0" rIns="0" bIns="0" anchor="ctr">
            <a:spAutoFit/>
          </a:bodyPr>
          <a:lstStyle/>
          <a:p>
            <a:pPr marL="0" marR="0" lvl="0" indent="0" defTabSz="914400" rtl="1" eaLnBrk="1" fontAlgn="auto" latinLnBrk="0" hangingPunct="1">
              <a:lnSpc>
                <a:spcPct val="100000"/>
              </a:lnSpc>
              <a:spcBef>
                <a:spcPts val="0"/>
              </a:spcBef>
              <a:spcAft>
                <a:spcPts val="600"/>
              </a:spcAft>
              <a:buClrTx/>
              <a:buSzTx/>
              <a:buFontTx/>
              <a:buNone/>
              <a:tabLst/>
              <a:defRPr/>
            </a:pPr>
            <a:r>
              <a:rPr lang="en-US" sz="1200" b="1" dirty="0">
                <a:solidFill>
                  <a:srgbClr val="817A6C"/>
                </a:solidFill>
                <a:latin typeface="Arial" panose="020B0604020202020204" pitchFamily="34" charset="0"/>
                <a:cs typeface="Arial" panose="020B0604020202020204" pitchFamily="34" charset="0"/>
                <a:sym typeface="Sakkal Majalla" panose="02000000000000000000" pitchFamily="2" charset="-78"/>
              </a:rPr>
              <a:t>I</a:t>
            </a:r>
            <a:r>
              <a:rPr kumimoji="0" lang="en-US" sz="1200" b="1" i="0" u="none" strike="noStrike" kern="1200" cap="none" spc="0" normalizeH="0" baseline="0" noProof="0" dirty="0" err="1">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ndustrial</a:t>
            </a:r>
            <a:r>
              <a:rPr kumimoji="0" lang="en-US"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 sector's contribution to GDP(2023)</a:t>
            </a:r>
            <a:endParaRPr kumimoji="0" lang="ar" sz="1200" b="1" i="0" u="none" strike="noStrike" kern="1200" cap="none" spc="0" normalizeH="0" baseline="3000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77" name="Rectangle 76">
            <a:extLst>
              <a:ext uri="{FF2B5EF4-FFF2-40B4-BE49-F238E27FC236}">
                <a16:creationId xmlns:a16="http://schemas.microsoft.com/office/drawing/2014/main" id="{822EF7A7-9A04-C0B3-A605-2E88FEBBC00D}"/>
              </a:ext>
            </a:extLst>
          </p:cNvPr>
          <p:cNvSpPr>
            <a:spLocks/>
          </p:cNvSpPr>
          <p:nvPr/>
        </p:nvSpPr>
        <p:spPr>
          <a:xfrm flipH="1">
            <a:off x="4178369" y="2579038"/>
            <a:ext cx="1195494" cy="29546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R="0" lvl="0" defTabSz="914400" rtl="1" eaLnBrk="1" fontAlgn="auto" latinLnBrk="0" hangingPunct="1">
              <a:lnSpc>
                <a:spcPct val="80000"/>
              </a:lnSpc>
              <a:spcBef>
                <a:spcPts val="0"/>
              </a:spcBef>
              <a:spcAft>
                <a:spcPts val="0"/>
              </a:spcAft>
              <a:buClrTx/>
              <a:buSzTx/>
              <a:tabLst/>
              <a:defRPr/>
            </a:pPr>
            <a:r>
              <a:rPr kumimoji="0" lang="en-US" sz="1200" b="1" i="1" u="none" strike="noStrike" kern="1200" cap="none" spc="0" normalizeH="0" baseline="0" noProof="0" dirty="0">
                <a:ln>
                  <a:noFill/>
                </a:ln>
                <a:solidFill>
                  <a:srgbClr val="817A6C"/>
                </a:solidFill>
                <a:effectLst/>
                <a:uLnTx/>
                <a:uFillTx/>
                <a:latin typeface="Arial" panose="020B0604020202020204" pitchFamily="34" charset="0"/>
                <a:ea typeface="Arial" panose="020B0604020202020204" pitchFamily="34" charset="0"/>
                <a:cs typeface="Arial" panose="020B0604020202020204" pitchFamily="34" charset="0"/>
                <a:sym typeface="Sakkal Majalla" panose="02000000000000000000" pitchFamily="2" charset="-78"/>
              </a:rPr>
              <a:t>$128 billion USD (60%)</a:t>
            </a:r>
            <a:endParaRPr kumimoji="0" lang="ar"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Tree>
    <p:extLst>
      <p:ext uri="{BB962C8B-B14F-4D97-AF65-F5344CB8AC3E}">
        <p14:creationId xmlns:p14="http://schemas.microsoft.com/office/powerpoint/2010/main" val="2886385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phic 13" descr="Oil Rig with solid fill">
            <a:extLst>
              <a:ext uri="{FF2B5EF4-FFF2-40B4-BE49-F238E27FC236}">
                <a16:creationId xmlns:a16="http://schemas.microsoft.com/office/drawing/2014/main" id="{57AE8B38-869D-5B4D-D89D-655DA45C73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581223" y="1596195"/>
            <a:ext cx="457847" cy="457847"/>
          </a:xfrm>
          <a:prstGeom prst="rect">
            <a:avLst/>
          </a:prstGeom>
        </p:spPr>
      </p:pic>
      <p:pic>
        <p:nvPicPr>
          <p:cNvPr id="15" name="Graphic 14" descr="Factory with solid fill">
            <a:extLst>
              <a:ext uri="{FF2B5EF4-FFF2-40B4-BE49-F238E27FC236}">
                <a16:creationId xmlns:a16="http://schemas.microsoft.com/office/drawing/2014/main" id="{C894C9E3-4EE5-D0D3-63E5-0968226214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419405" y="1596842"/>
            <a:ext cx="457200" cy="457200"/>
          </a:xfrm>
          <a:prstGeom prst="rect">
            <a:avLst/>
          </a:prstGeom>
        </p:spPr>
      </p:pic>
      <p:pic>
        <p:nvPicPr>
          <p:cNvPr id="16" name="Graphic 15" descr="Seeds with solid fill">
            <a:extLst>
              <a:ext uri="{FF2B5EF4-FFF2-40B4-BE49-F238E27FC236}">
                <a16:creationId xmlns:a16="http://schemas.microsoft.com/office/drawing/2014/main" id="{5201DF65-68E1-C921-F399-4AEFF80E8CD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57587" y="1596842"/>
            <a:ext cx="457200" cy="457200"/>
          </a:xfrm>
          <a:prstGeom prst="rect">
            <a:avLst/>
          </a:prstGeom>
        </p:spPr>
      </p:pic>
      <p:pic>
        <p:nvPicPr>
          <p:cNvPr id="17" name="Graphic 16" descr="Globe with solid fill">
            <a:extLst>
              <a:ext uri="{FF2B5EF4-FFF2-40B4-BE49-F238E27FC236}">
                <a16:creationId xmlns:a16="http://schemas.microsoft.com/office/drawing/2014/main" id="{1FE118E7-6B5E-CAAB-BF77-9528DE83B98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802490" y="1596842"/>
            <a:ext cx="457200" cy="457200"/>
          </a:xfrm>
          <a:prstGeom prst="rect">
            <a:avLst/>
          </a:prstGeom>
        </p:spPr>
      </p:pic>
      <p:pic>
        <p:nvPicPr>
          <p:cNvPr id="18" name="Graphic 17" descr="Handshake with solid fill">
            <a:extLst>
              <a:ext uri="{FF2B5EF4-FFF2-40B4-BE49-F238E27FC236}">
                <a16:creationId xmlns:a16="http://schemas.microsoft.com/office/drawing/2014/main" id="{EB1B263F-DA16-1D69-71EF-C88954A5DB5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335580" y="1597581"/>
            <a:ext cx="457200" cy="457200"/>
          </a:xfrm>
          <a:prstGeom prst="rect">
            <a:avLst/>
          </a:prstGeom>
        </p:spPr>
      </p:pic>
      <p:pic>
        <p:nvPicPr>
          <p:cNvPr id="19" name="Graphic 18" descr="Coins with solid fill">
            <a:extLst>
              <a:ext uri="{FF2B5EF4-FFF2-40B4-BE49-F238E27FC236}">
                <a16:creationId xmlns:a16="http://schemas.microsoft.com/office/drawing/2014/main" id="{13AD8E74-CB77-D487-C07C-66EEECD7DC3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959235" y="3884232"/>
            <a:ext cx="457200" cy="457200"/>
          </a:xfrm>
          <a:prstGeom prst="rect">
            <a:avLst/>
          </a:prstGeom>
        </p:spPr>
      </p:pic>
      <p:pic>
        <p:nvPicPr>
          <p:cNvPr id="20" name="Graphic 19" descr="Coins with solid fill">
            <a:extLst>
              <a:ext uri="{FF2B5EF4-FFF2-40B4-BE49-F238E27FC236}">
                <a16:creationId xmlns:a16="http://schemas.microsoft.com/office/drawing/2014/main" id="{1CE6B3A5-6747-19E3-1892-CAD47314277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674897" y="3911504"/>
            <a:ext cx="457200" cy="457200"/>
          </a:xfrm>
          <a:prstGeom prst="rect">
            <a:avLst/>
          </a:prstGeom>
        </p:spPr>
      </p:pic>
      <p:pic>
        <p:nvPicPr>
          <p:cNvPr id="21" name="Graphic 20" descr="Network with solid fill">
            <a:extLst>
              <a:ext uri="{FF2B5EF4-FFF2-40B4-BE49-F238E27FC236}">
                <a16:creationId xmlns:a16="http://schemas.microsoft.com/office/drawing/2014/main" id="{BC67D9DA-420E-03C9-E638-1844565FD0D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229553" y="3879433"/>
            <a:ext cx="457200" cy="457200"/>
          </a:xfrm>
          <a:prstGeom prst="rect">
            <a:avLst/>
          </a:prstGeom>
        </p:spPr>
      </p:pic>
      <p:pic>
        <p:nvPicPr>
          <p:cNvPr id="22" name="Picture 21">
            <a:extLst>
              <a:ext uri="{FF2B5EF4-FFF2-40B4-BE49-F238E27FC236}">
                <a16:creationId xmlns:a16="http://schemas.microsoft.com/office/drawing/2014/main" id="{2E6457F1-2897-3A60-3227-AEA8224491CD}"/>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602891" y="3917854"/>
            <a:ext cx="952500" cy="444500"/>
          </a:xfrm>
          <a:prstGeom prst="rect">
            <a:avLst/>
          </a:prstGeom>
        </p:spPr>
      </p:pic>
      <p:sp>
        <p:nvSpPr>
          <p:cNvPr id="23" name="Shape 1441">
            <a:extLst>
              <a:ext uri="{FF2B5EF4-FFF2-40B4-BE49-F238E27FC236}">
                <a16:creationId xmlns:a16="http://schemas.microsoft.com/office/drawing/2014/main" id="{45705782-9783-B5C1-1D1A-A42B782C24E3}"/>
              </a:ext>
            </a:extLst>
          </p:cNvPr>
          <p:cNvSpPr/>
          <p:nvPr/>
        </p:nvSpPr>
        <p:spPr>
          <a:xfrm>
            <a:off x="892219" y="2133205"/>
            <a:ext cx="1421343" cy="754296"/>
          </a:xfrm>
          <a:prstGeom prst="rect">
            <a:avLst/>
          </a:prstGeom>
          <a:ln w="12700">
            <a:miter lim="400000"/>
          </a:ln>
          <a:extLst>
            <a:ext uri="{C572A759-6A51-4108-AA02-DFA0A04FC94B}">
              <ma14:wrappingTextBoxFlag xmlns="" xmlns:ma14="http://schemas.microsoft.com/office/mac/drawingml/2011/main" val="1"/>
            </a:ext>
          </a:extLst>
        </p:spPr>
        <p:txBody>
          <a:bodyPr lIns="24383" tIns="24383" rIns="24383" bIns="24383"/>
          <a:lstStyle>
            <a:lvl1pPr>
              <a:spcBef>
                <a:spcPts val="5900"/>
              </a:spcBef>
              <a:defRPr spc="150">
                <a:solidFill>
                  <a:srgbClr val="212121"/>
                </a:solidFill>
                <a:latin typeface="Montserrat"/>
                <a:ea typeface="Montserrat"/>
                <a:cs typeface="Montserrat"/>
                <a:sym typeface="Montserrat"/>
              </a:defRPr>
            </a:lvl1pPr>
          </a:lstStyle>
          <a:p>
            <a:pPr algn="ctr" defTabSz="412756" rtl="1" hangingPunct="0">
              <a:lnSpc>
                <a:spcPct val="120000"/>
              </a:lnSpc>
              <a:spcBef>
                <a:spcPts val="2951"/>
              </a:spcBef>
            </a:pPr>
            <a:r>
              <a:rPr lang="en-US" sz="1600" b="1" kern="0" spc="75" dirty="0">
                <a:solidFill>
                  <a:srgbClr val="817A6C"/>
                </a:solidFill>
                <a:latin typeface="Arial" panose="020B0604020202020204" pitchFamily="34" charset="0"/>
                <a:cs typeface="Arial" panose="020B0604020202020204" pitchFamily="34" charset="0"/>
              </a:rPr>
              <a:t>Global Trade Agreements</a:t>
            </a:r>
            <a:endParaRPr lang="ar-JO" sz="1600" b="1" kern="0" spc="75" dirty="0">
              <a:solidFill>
                <a:srgbClr val="817A6C"/>
              </a:solidFill>
              <a:latin typeface="Arial" panose="020B0604020202020204" pitchFamily="34" charset="0"/>
              <a:cs typeface="Arial" panose="020B0604020202020204" pitchFamily="34" charset="0"/>
            </a:endParaRPr>
          </a:p>
        </p:txBody>
      </p:sp>
      <p:sp>
        <p:nvSpPr>
          <p:cNvPr id="24" name="Shape 1446">
            <a:extLst>
              <a:ext uri="{FF2B5EF4-FFF2-40B4-BE49-F238E27FC236}">
                <a16:creationId xmlns:a16="http://schemas.microsoft.com/office/drawing/2014/main" id="{F81EB6B6-E34F-FEDE-2AB3-A2DDE940C8BE}"/>
              </a:ext>
            </a:extLst>
          </p:cNvPr>
          <p:cNvSpPr/>
          <p:nvPr/>
        </p:nvSpPr>
        <p:spPr>
          <a:xfrm>
            <a:off x="2818871" y="2112005"/>
            <a:ext cx="2396927" cy="743897"/>
          </a:xfrm>
          <a:prstGeom prst="rect">
            <a:avLst/>
          </a:prstGeom>
          <a:ln w="12700">
            <a:miter lim="400000"/>
          </a:ln>
          <a:extLst>
            <a:ext uri="{C572A759-6A51-4108-AA02-DFA0A04FC94B}">
              <ma14:wrappingTextBoxFlag xmlns="" xmlns:ma14="http://schemas.microsoft.com/office/mac/drawingml/2011/main" val="1"/>
            </a:ext>
          </a:extLst>
        </p:spPr>
        <p:txBody>
          <a:bodyPr lIns="24383" tIns="24383" rIns="24383" bIns="24383"/>
          <a:lstStyle>
            <a:lvl1pPr>
              <a:spcBef>
                <a:spcPts val="5900"/>
              </a:spcBef>
              <a:defRPr spc="150">
                <a:solidFill>
                  <a:srgbClr val="212121"/>
                </a:solidFill>
                <a:latin typeface="Montserrat"/>
                <a:ea typeface="Montserrat"/>
                <a:cs typeface="Montserrat"/>
                <a:sym typeface="Montserrat"/>
              </a:defRPr>
            </a:lvl1pPr>
          </a:lstStyle>
          <a:p>
            <a:pPr algn="ctr" defTabSz="412756" rtl="1" hangingPunct="0">
              <a:lnSpc>
                <a:spcPct val="120000"/>
              </a:lnSpc>
              <a:spcBef>
                <a:spcPts val="2951"/>
              </a:spcBef>
            </a:pPr>
            <a:r>
              <a:rPr lang="en-US" sz="1600" b="1" kern="0" spc="75" dirty="0">
                <a:solidFill>
                  <a:srgbClr val="817A6C"/>
                </a:solidFill>
                <a:latin typeface="Arial" panose="020B0604020202020204" pitchFamily="34" charset="0"/>
                <a:cs typeface="Arial" panose="020B0604020202020204" pitchFamily="34" charset="0"/>
              </a:rPr>
              <a:t>Prime Strategic Location: Second Largest Air Cargo Fleet</a:t>
            </a:r>
            <a:endParaRPr lang="ar-JO" sz="1600" b="1" kern="0" spc="75" dirty="0">
              <a:solidFill>
                <a:srgbClr val="817A6C"/>
              </a:solidFill>
              <a:latin typeface="Arial" panose="020B0604020202020204" pitchFamily="34" charset="0"/>
              <a:cs typeface="Arial" panose="020B0604020202020204" pitchFamily="34" charset="0"/>
            </a:endParaRPr>
          </a:p>
        </p:txBody>
      </p:sp>
      <p:sp>
        <p:nvSpPr>
          <p:cNvPr id="25" name="Shape 1448">
            <a:extLst>
              <a:ext uri="{FF2B5EF4-FFF2-40B4-BE49-F238E27FC236}">
                <a16:creationId xmlns:a16="http://schemas.microsoft.com/office/drawing/2014/main" id="{88A9EB3C-4336-4DC2-463B-F70C85CFA5EB}"/>
              </a:ext>
            </a:extLst>
          </p:cNvPr>
          <p:cNvSpPr/>
          <p:nvPr/>
        </p:nvSpPr>
        <p:spPr>
          <a:xfrm>
            <a:off x="5895044" y="2135023"/>
            <a:ext cx="1227033" cy="644125"/>
          </a:xfrm>
          <a:prstGeom prst="rect">
            <a:avLst/>
          </a:prstGeom>
          <a:ln w="12700">
            <a:miter lim="400000"/>
          </a:ln>
          <a:extLst>
            <a:ext uri="{C572A759-6A51-4108-AA02-DFA0A04FC94B}">
              <ma14:wrappingTextBoxFlag xmlns="" xmlns:ma14="http://schemas.microsoft.com/office/mac/drawingml/2011/main" val="1"/>
            </a:ext>
          </a:extLst>
        </p:spPr>
        <p:txBody>
          <a:bodyPr lIns="24383" tIns="24383" rIns="24383" bIns="24383"/>
          <a:lstStyle>
            <a:lvl1pPr>
              <a:spcBef>
                <a:spcPts val="5900"/>
              </a:spcBef>
              <a:defRPr spc="150">
                <a:solidFill>
                  <a:srgbClr val="212121"/>
                </a:solidFill>
                <a:latin typeface="Montserrat"/>
                <a:ea typeface="Montserrat"/>
                <a:cs typeface="Montserrat"/>
                <a:sym typeface="Montserrat"/>
              </a:defRPr>
            </a:lvl1pPr>
          </a:lstStyle>
          <a:p>
            <a:pPr algn="ctr" defTabSz="412756" rtl="1" hangingPunct="0">
              <a:lnSpc>
                <a:spcPct val="120000"/>
              </a:lnSpc>
              <a:spcBef>
                <a:spcPts val="2951"/>
              </a:spcBef>
            </a:pPr>
            <a:r>
              <a:rPr lang="en-US" sz="1600" b="1" kern="0" spc="75" dirty="0">
                <a:solidFill>
                  <a:srgbClr val="817A6C"/>
                </a:solidFill>
                <a:latin typeface="Arial" panose="020B0604020202020204" pitchFamily="34" charset="0"/>
                <a:cs typeface="Arial" panose="020B0604020202020204" pitchFamily="34" charset="0"/>
              </a:rPr>
              <a:t>A Leader in Fertilizer Production</a:t>
            </a:r>
            <a:endParaRPr lang="ar-JO" sz="1600" b="1" kern="0" spc="75" dirty="0">
              <a:solidFill>
                <a:srgbClr val="817A6C"/>
              </a:solidFill>
              <a:latin typeface="Arial" panose="020B0604020202020204" pitchFamily="34" charset="0"/>
              <a:cs typeface="Arial" panose="020B0604020202020204" pitchFamily="34" charset="0"/>
            </a:endParaRPr>
          </a:p>
        </p:txBody>
      </p:sp>
      <p:sp>
        <p:nvSpPr>
          <p:cNvPr id="26" name="Shape 1451">
            <a:extLst>
              <a:ext uri="{FF2B5EF4-FFF2-40B4-BE49-F238E27FC236}">
                <a16:creationId xmlns:a16="http://schemas.microsoft.com/office/drawing/2014/main" id="{E7F423D5-0EEB-FF02-AC6D-AB16744EB186}"/>
              </a:ext>
            </a:extLst>
          </p:cNvPr>
          <p:cNvSpPr/>
          <p:nvPr/>
        </p:nvSpPr>
        <p:spPr>
          <a:xfrm>
            <a:off x="7801323" y="2133205"/>
            <a:ext cx="1707265" cy="754296"/>
          </a:xfrm>
          <a:prstGeom prst="rect">
            <a:avLst/>
          </a:prstGeom>
          <a:ln w="12700">
            <a:miter lim="400000"/>
          </a:ln>
          <a:extLst>
            <a:ext uri="{C572A759-6A51-4108-AA02-DFA0A04FC94B}">
              <ma14:wrappingTextBoxFlag xmlns="" xmlns:ma14="http://schemas.microsoft.com/office/mac/drawingml/2011/main" val="1"/>
            </a:ext>
          </a:extLst>
        </p:spPr>
        <p:txBody>
          <a:bodyPr lIns="24383" tIns="24383" rIns="24383" bIns="24383"/>
          <a:lstStyle>
            <a:lvl1pPr>
              <a:spcBef>
                <a:spcPts val="5900"/>
              </a:spcBef>
              <a:defRPr spc="150">
                <a:solidFill>
                  <a:srgbClr val="212121"/>
                </a:solidFill>
                <a:latin typeface="Montserrat"/>
                <a:ea typeface="Montserrat"/>
                <a:cs typeface="Montserrat"/>
                <a:sym typeface="Montserrat"/>
              </a:defRPr>
            </a:lvl1pPr>
          </a:lstStyle>
          <a:p>
            <a:pPr algn="ctr" defTabSz="412756" rtl="1" hangingPunct="0">
              <a:lnSpc>
                <a:spcPct val="120000"/>
              </a:lnSpc>
              <a:spcBef>
                <a:spcPts val="2951"/>
              </a:spcBef>
            </a:pPr>
            <a:r>
              <a:rPr lang="en-US" sz="1600" b="1" kern="0" spc="75" dirty="0">
                <a:solidFill>
                  <a:srgbClr val="817A6C"/>
                </a:solidFill>
                <a:latin typeface="Arial" panose="020B0604020202020204" pitchFamily="34" charset="0"/>
                <a:cs typeface="Arial" panose="020B0604020202020204" pitchFamily="34" charset="0"/>
              </a:rPr>
              <a:t>A Leader in Steel Production in the Middle East</a:t>
            </a:r>
            <a:endParaRPr lang="ar-JO" sz="1600" b="1" kern="0" spc="75" dirty="0">
              <a:solidFill>
                <a:srgbClr val="817A6C"/>
              </a:solidFill>
              <a:latin typeface="Arial" panose="020B0604020202020204" pitchFamily="34" charset="0"/>
              <a:cs typeface="Arial" panose="020B0604020202020204" pitchFamily="34" charset="0"/>
            </a:endParaRPr>
          </a:p>
        </p:txBody>
      </p:sp>
      <p:sp>
        <p:nvSpPr>
          <p:cNvPr id="27" name="Shape 1453">
            <a:extLst>
              <a:ext uri="{FF2B5EF4-FFF2-40B4-BE49-F238E27FC236}">
                <a16:creationId xmlns:a16="http://schemas.microsoft.com/office/drawing/2014/main" id="{5671E678-0D82-8FDC-6212-F8F53F875B62}"/>
              </a:ext>
            </a:extLst>
          </p:cNvPr>
          <p:cNvSpPr/>
          <p:nvPr/>
        </p:nvSpPr>
        <p:spPr>
          <a:xfrm>
            <a:off x="10187834" y="2205326"/>
            <a:ext cx="1707265" cy="682175"/>
          </a:xfrm>
          <a:prstGeom prst="rect">
            <a:avLst/>
          </a:prstGeom>
          <a:ln w="12700">
            <a:miter lim="400000"/>
          </a:ln>
          <a:extLst>
            <a:ext uri="{C572A759-6A51-4108-AA02-DFA0A04FC94B}">
              <ma14:wrappingTextBoxFlag xmlns="" xmlns:ma14="http://schemas.microsoft.com/office/mac/drawingml/2011/main" val="1"/>
            </a:ext>
          </a:extLst>
        </p:spPr>
        <p:txBody>
          <a:bodyPr lIns="24383" tIns="24383" rIns="24383" bIns="24383"/>
          <a:lstStyle>
            <a:lvl1pPr>
              <a:spcBef>
                <a:spcPts val="5900"/>
              </a:spcBef>
              <a:defRPr spc="150">
                <a:solidFill>
                  <a:srgbClr val="212121"/>
                </a:solidFill>
                <a:latin typeface="Montserrat"/>
                <a:ea typeface="Montserrat"/>
                <a:cs typeface="Montserrat"/>
                <a:sym typeface="Montserrat"/>
              </a:defRPr>
            </a:lvl1pPr>
          </a:lstStyle>
          <a:p>
            <a:pPr algn="ctr" defTabSz="412756" rtl="1" hangingPunct="0">
              <a:lnSpc>
                <a:spcPct val="120000"/>
              </a:lnSpc>
              <a:spcBef>
                <a:spcPts val="2951"/>
              </a:spcBef>
            </a:pPr>
            <a:r>
              <a:rPr lang="en-US" sz="1600" b="1" kern="0" spc="75" dirty="0">
                <a:solidFill>
                  <a:srgbClr val="817A6C"/>
                </a:solidFill>
                <a:latin typeface="Arial" panose="020B0604020202020204" pitchFamily="34" charset="0"/>
                <a:cs typeface="Arial" panose="020B0604020202020204" pitchFamily="34" charset="0"/>
              </a:rPr>
              <a:t>An Integrated Hub for Petrochemicals</a:t>
            </a:r>
            <a:endParaRPr lang="ar-JO" sz="1600" b="1" kern="0" spc="75" dirty="0">
              <a:solidFill>
                <a:srgbClr val="817A6C"/>
              </a:solidFill>
              <a:latin typeface="Arial" panose="020B0604020202020204" pitchFamily="34" charset="0"/>
              <a:cs typeface="Arial" panose="020B0604020202020204" pitchFamily="34" charset="0"/>
            </a:endParaRPr>
          </a:p>
        </p:txBody>
      </p:sp>
      <p:sp>
        <p:nvSpPr>
          <p:cNvPr id="28" name="Shape 1446">
            <a:extLst>
              <a:ext uri="{FF2B5EF4-FFF2-40B4-BE49-F238E27FC236}">
                <a16:creationId xmlns:a16="http://schemas.microsoft.com/office/drawing/2014/main" id="{6979A8C5-0E21-D031-27D8-F349E442BCB3}"/>
              </a:ext>
            </a:extLst>
          </p:cNvPr>
          <p:cNvSpPr/>
          <p:nvPr/>
        </p:nvSpPr>
        <p:spPr>
          <a:xfrm>
            <a:off x="629874" y="4401659"/>
            <a:ext cx="3172616" cy="616263"/>
          </a:xfrm>
          <a:prstGeom prst="rect">
            <a:avLst/>
          </a:prstGeom>
          <a:ln w="12700">
            <a:miter lim="400000"/>
          </a:ln>
          <a:extLst>
            <a:ext uri="{C572A759-6A51-4108-AA02-DFA0A04FC94B}">
              <ma14:wrappingTextBoxFlag xmlns="" xmlns:ma14="http://schemas.microsoft.com/office/mac/drawingml/2011/main" val="1"/>
            </a:ext>
          </a:extLst>
        </p:spPr>
        <p:txBody>
          <a:bodyPr lIns="24383" tIns="24383" rIns="24383" bIns="24383"/>
          <a:lstStyle>
            <a:lvl1pPr>
              <a:spcBef>
                <a:spcPts val="5900"/>
              </a:spcBef>
              <a:defRPr spc="150">
                <a:solidFill>
                  <a:srgbClr val="212121"/>
                </a:solidFill>
                <a:latin typeface="Montserrat"/>
                <a:ea typeface="Montserrat"/>
                <a:cs typeface="Montserrat"/>
                <a:sym typeface="Montserrat"/>
              </a:defRPr>
            </a:lvl1pPr>
          </a:lstStyle>
          <a:p>
            <a:pPr algn="ctr" defTabSz="412756" rtl="1" hangingPunct="0">
              <a:lnSpc>
                <a:spcPct val="120000"/>
              </a:lnSpc>
              <a:spcBef>
                <a:spcPts val="2951"/>
              </a:spcBef>
            </a:pPr>
            <a:r>
              <a:rPr lang="en-US" sz="1600" b="1" kern="0" spc="75" dirty="0">
                <a:solidFill>
                  <a:srgbClr val="817A6C"/>
                </a:solidFill>
                <a:latin typeface="Arial" panose="020B0604020202020204" pitchFamily="34" charset="0"/>
                <a:cs typeface="Arial" panose="020B0604020202020204" pitchFamily="34" charset="0"/>
              </a:rPr>
              <a:t>QAFCO is the world's largest producer of nitrogen-based fertilizers.</a:t>
            </a:r>
            <a:endParaRPr lang="ar-JO" sz="1600" b="1" kern="0" spc="75" dirty="0">
              <a:solidFill>
                <a:srgbClr val="817A6C"/>
              </a:solidFill>
              <a:latin typeface="Arial" panose="020B0604020202020204" pitchFamily="34" charset="0"/>
              <a:cs typeface="Arial" panose="020B0604020202020204" pitchFamily="34" charset="0"/>
            </a:endParaRPr>
          </a:p>
        </p:txBody>
      </p:sp>
      <p:sp>
        <p:nvSpPr>
          <p:cNvPr id="29" name="Shape 1448">
            <a:extLst>
              <a:ext uri="{FF2B5EF4-FFF2-40B4-BE49-F238E27FC236}">
                <a16:creationId xmlns:a16="http://schemas.microsoft.com/office/drawing/2014/main" id="{06B38625-C35A-DBBD-B81B-3D873F71A1B8}"/>
              </a:ext>
            </a:extLst>
          </p:cNvPr>
          <p:cNvSpPr/>
          <p:nvPr/>
        </p:nvSpPr>
        <p:spPr>
          <a:xfrm>
            <a:off x="4600233" y="4341432"/>
            <a:ext cx="1778000" cy="644125"/>
          </a:xfrm>
          <a:prstGeom prst="rect">
            <a:avLst/>
          </a:prstGeom>
          <a:ln w="12700">
            <a:miter lim="400000"/>
          </a:ln>
          <a:extLst>
            <a:ext uri="{C572A759-6A51-4108-AA02-DFA0A04FC94B}">
              <ma14:wrappingTextBoxFlag xmlns="" xmlns:ma14="http://schemas.microsoft.com/office/mac/drawingml/2011/main" val="1"/>
            </a:ext>
          </a:extLst>
        </p:spPr>
        <p:txBody>
          <a:bodyPr lIns="24383" tIns="24383" rIns="24383" bIns="24383"/>
          <a:lstStyle>
            <a:lvl1pPr>
              <a:spcBef>
                <a:spcPts val="5900"/>
              </a:spcBef>
              <a:defRPr spc="150">
                <a:solidFill>
                  <a:srgbClr val="212121"/>
                </a:solidFill>
                <a:latin typeface="Montserrat"/>
                <a:ea typeface="Montserrat"/>
                <a:cs typeface="Montserrat"/>
                <a:sym typeface="Montserrat"/>
              </a:defRPr>
            </a:lvl1pPr>
          </a:lstStyle>
          <a:p>
            <a:pPr algn="ctr" defTabSz="412756" rtl="1" hangingPunct="0">
              <a:lnSpc>
                <a:spcPct val="120000"/>
              </a:lnSpc>
              <a:spcBef>
                <a:spcPts val="2951"/>
              </a:spcBef>
            </a:pPr>
            <a:r>
              <a:rPr lang="en-US" sz="1600" b="1" kern="0" spc="75" dirty="0">
                <a:solidFill>
                  <a:srgbClr val="817A6C"/>
                </a:solidFill>
                <a:latin typeface="Arial" panose="020B0604020202020204" pitchFamily="34" charset="0"/>
                <a:cs typeface="Arial" panose="020B0604020202020204" pitchFamily="34" charset="0"/>
              </a:rPr>
              <a:t>World-Class Telecommunications and Infrastructure</a:t>
            </a:r>
            <a:endParaRPr lang="ar-JO" sz="1600" b="1" kern="0" spc="75" dirty="0">
              <a:solidFill>
                <a:srgbClr val="817A6C"/>
              </a:solidFill>
              <a:latin typeface="Arial" panose="020B0604020202020204" pitchFamily="34" charset="0"/>
              <a:cs typeface="Arial" panose="020B0604020202020204" pitchFamily="34" charset="0"/>
            </a:endParaRPr>
          </a:p>
        </p:txBody>
      </p:sp>
      <p:sp>
        <p:nvSpPr>
          <p:cNvPr id="30" name="Shape 1451">
            <a:extLst>
              <a:ext uri="{FF2B5EF4-FFF2-40B4-BE49-F238E27FC236}">
                <a16:creationId xmlns:a16="http://schemas.microsoft.com/office/drawing/2014/main" id="{F8D476A2-7951-2894-A557-EE33098CE856}"/>
              </a:ext>
            </a:extLst>
          </p:cNvPr>
          <p:cNvSpPr/>
          <p:nvPr/>
        </p:nvSpPr>
        <p:spPr>
          <a:xfrm>
            <a:off x="7010428" y="4442814"/>
            <a:ext cx="1778000" cy="533954"/>
          </a:xfrm>
          <a:prstGeom prst="rect">
            <a:avLst/>
          </a:prstGeom>
          <a:ln w="12700">
            <a:miter lim="400000"/>
          </a:ln>
          <a:extLst>
            <a:ext uri="{C572A759-6A51-4108-AA02-DFA0A04FC94B}">
              <ma14:wrappingTextBoxFlag xmlns="" xmlns:ma14="http://schemas.microsoft.com/office/mac/drawingml/2011/main" val="1"/>
            </a:ext>
          </a:extLst>
        </p:spPr>
        <p:txBody>
          <a:bodyPr lIns="24383" tIns="24383" rIns="24383" bIns="24383"/>
          <a:lstStyle>
            <a:lvl1pPr>
              <a:spcBef>
                <a:spcPts val="5900"/>
              </a:spcBef>
              <a:defRPr spc="150">
                <a:solidFill>
                  <a:srgbClr val="212121"/>
                </a:solidFill>
                <a:latin typeface="Montserrat"/>
                <a:ea typeface="Montserrat"/>
                <a:cs typeface="Montserrat"/>
                <a:sym typeface="Montserrat"/>
              </a:defRPr>
            </a:lvl1pPr>
          </a:lstStyle>
          <a:p>
            <a:pPr algn="ctr" defTabSz="412756" rtl="1" hangingPunct="0">
              <a:lnSpc>
                <a:spcPct val="120000"/>
              </a:lnSpc>
              <a:spcBef>
                <a:spcPts val="2951"/>
              </a:spcBef>
            </a:pPr>
            <a:r>
              <a:rPr lang="en-US" sz="1600" b="1" kern="0" spc="75" dirty="0">
                <a:solidFill>
                  <a:srgbClr val="817A6C"/>
                </a:solidFill>
                <a:latin typeface="Arial" panose="020B0604020202020204" pitchFamily="34" charset="0"/>
                <a:cs typeface="Arial" panose="020B0604020202020204" pitchFamily="34" charset="0"/>
              </a:rPr>
              <a:t>Incentives for Manufacturers</a:t>
            </a:r>
            <a:endParaRPr lang="ar-JO" sz="1600" b="1" kern="0" spc="75" dirty="0">
              <a:solidFill>
                <a:srgbClr val="817A6C"/>
              </a:solidFill>
              <a:latin typeface="Arial" panose="020B0604020202020204" pitchFamily="34" charset="0"/>
              <a:cs typeface="Arial" panose="020B0604020202020204" pitchFamily="34" charset="0"/>
            </a:endParaRPr>
          </a:p>
        </p:txBody>
      </p:sp>
      <p:sp>
        <p:nvSpPr>
          <p:cNvPr id="31" name="Shape 1453">
            <a:extLst>
              <a:ext uri="{FF2B5EF4-FFF2-40B4-BE49-F238E27FC236}">
                <a16:creationId xmlns:a16="http://schemas.microsoft.com/office/drawing/2014/main" id="{8642452B-B254-14F2-309D-297B3DBDE89E}"/>
              </a:ext>
            </a:extLst>
          </p:cNvPr>
          <p:cNvSpPr/>
          <p:nvPr/>
        </p:nvSpPr>
        <p:spPr>
          <a:xfrm>
            <a:off x="9298835" y="4368704"/>
            <a:ext cx="1778000" cy="682175"/>
          </a:xfrm>
          <a:prstGeom prst="rect">
            <a:avLst/>
          </a:prstGeom>
          <a:ln w="12700">
            <a:miter lim="400000"/>
          </a:ln>
          <a:extLst>
            <a:ext uri="{C572A759-6A51-4108-AA02-DFA0A04FC94B}">
              <ma14:wrappingTextBoxFlag xmlns="" xmlns:ma14="http://schemas.microsoft.com/office/mac/drawingml/2011/main" val="1"/>
            </a:ext>
          </a:extLst>
        </p:spPr>
        <p:txBody>
          <a:bodyPr lIns="24383" tIns="24383" rIns="24383" bIns="24383"/>
          <a:lstStyle>
            <a:lvl1pPr>
              <a:spcBef>
                <a:spcPts val="5900"/>
              </a:spcBef>
              <a:defRPr spc="150">
                <a:solidFill>
                  <a:srgbClr val="212121"/>
                </a:solidFill>
                <a:latin typeface="Montserrat"/>
                <a:ea typeface="Montserrat"/>
                <a:cs typeface="Montserrat"/>
                <a:sym typeface="Montserrat"/>
              </a:defRPr>
            </a:lvl1pPr>
          </a:lstStyle>
          <a:p>
            <a:pPr algn="ctr" defTabSz="412756" rtl="1" hangingPunct="0">
              <a:lnSpc>
                <a:spcPct val="120000"/>
              </a:lnSpc>
              <a:spcBef>
                <a:spcPts val="2951"/>
              </a:spcBef>
            </a:pPr>
            <a:r>
              <a:rPr lang="en-US" sz="1600" b="1" kern="0" spc="75" dirty="0">
                <a:solidFill>
                  <a:srgbClr val="817A6C"/>
                </a:solidFill>
                <a:latin typeface="Arial" panose="020B0604020202020204" pitchFamily="34" charset="0"/>
                <a:cs typeface="Arial" panose="020B0604020202020204" pitchFamily="34" charset="0"/>
              </a:rPr>
              <a:t>Incentives for Trading Companies</a:t>
            </a:r>
            <a:endParaRPr lang="ar-QA" sz="1600" b="1" kern="0" spc="75" dirty="0">
              <a:solidFill>
                <a:srgbClr val="817A6C"/>
              </a:solidFill>
              <a:latin typeface="Arial" panose="020B0604020202020204" pitchFamily="34" charset="0"/>
              <a:cs typeface="Arial" panose="020B0604020202020204" pitchFamily="34" charset="0"/>
            </a:endParaRPr>
          </a:p>
        </p:txBody>
      </p:sp>
      <p:sp>
        <p:nvSpPr>
          <p:cNvPr id="32" name="Rectangle 17">
            <a:extLst>
              <a:ext uri="{FF2B5EF4-FFF2-40B4-BE49-F238E27FC236}">
                <a16:creationId xmlns:a16="http://schemas.microsoft.com/office/drawing/2014/main" id="{7E89C8D5-4772-419D-455B-BCC3A7A47616}"/>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33" name="Title 2">
            <a:extLst>
              <a:ext uri="{FF2B5EF4-FFF2-40B4-BE49-F238E27FC236}">
                <a16:creationId xmlns:a16="http://schemas.microsoft.com/office/drawing/2014/main" id="{5D207081-60F0-6CA3-A3D4-AC084AB5B7B2}"/>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Competitive Advantages of the State of Qatar</a:t>
            </a:r>
          </a:p>
        </p:txBody>
      </p:sp>
      <p:cxnSp>
        <p:nvCxnSpPr>
          <p:cNvPr id="34" name="Straight Connector 33">
            <a:extLst>
              <a:ext uri="{FF2B5EF4-FFF2-40B4-BE49-F238E27FC236}">
                <a16:creationId xmlns:a16="http://schemas.microsoft.com/office/drawing/2014/main" id="{C7C80643-7C98-6921-18CE-C20F384F62C0}"/>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9547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0FCF9C-3A23-991D-BDB8-B644476059D0}"/>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id="{B01679D3-BEDB-65BA-F5D8-A1E54B2C7555}"/>
              </a:ext>
            </a:extLst>
          </p:cNvPr>
          <p:cNvGraphicFramePr>
            <a:graphicFrameLocks noChangeAspect="1"/>
          </p:cNvGraphicFramePr>
          <p:nvPr>
            <p:custDataLst>
              <p:tags r:id="rId2"/>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name="think-cell Slide" r:id="rId6" imgW="606" imgH="608" progId="TCLayout.ActiveDocument.1">
                  <p:embed/>
                </p:oleObj>
              </mc:Choice>
              <mc:Fallback>
                <p:oleObj name="think-cell Slide" r:id="rId6" imgW="606" imgH="608" progId="TCLayout.ActiveDocument.1">
                  <p:embed/>
                  <p:pic>
                    <p:nvPicPr>
                      <p:cNvPr id="4" name="Object 3" hidden="1">
                        <a:extLst>
                          <a:ext uri="{FF2B5EF4-FFF2-40B4-BE49-F238E27FC236}">
                            <a16:creationId xmlns:a16="http://schemas.microsoft.com/office/drawing/2014/main" id="{B01679D3-BEDB-65BA-F5D8-A1E54B2C7555}"/>
                          </a:ext>
                        </a:extLst>
                      </p:cNvPr>
                      <p:cNvPicPr/>
                      <p:nvPr/>
                    </p:nvPicPr>
                    <p:blipFill>
                      <a:blip r:embed="rId7"/>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CC3F5FD-9550-104A-932B-7C6EF1715559}"/>
              </a:ext>
            </a:extLst>
          </p:cNvPr>
          <p:cNvSpPr/>
          <p:nvPr>
            <p:custDataLst>
              <p:tags r:id="rId3"/>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id="{E17DE9F7-4557-D9E9-81CF-71632DBB31DF}"/>
              </a:ext>
            </a:extLst>
          </p:cNvPr>
          <p:cNvSpPr txBox="1">
            <a:spLocks/>
          </p:cNvSpPr>
          <p:nvPr/>
        </p:nvSpPr>
        <p:spPr>
          <a:xfrm flipH="1">
            <a:off x="287403" y="504054"/>
            <a:ext cx="11617194" cy="449577"/>
          </a:xfrm>
          <a:prstGeom prst="rect">
            <a:avLst/>
          </a:prstGeom>
        </p:spPr>
        <p:txBody>
          <a:bodyPr vert="horz" wrap="square" lIns="0" tIns="0" rIns="0" bIns="0" rtlCol="0" anchor="t">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1" eaLnBrk="1" fontAlgn="auto" latinLnBrk="0" hangingPunct="1">
              <a:lnSpc>
                <a:spcPct val="90000"/>
              </a:lnSpc>
              <a:spcBef>
                <a:spcPct val="0"/>
              </a:spcBef>
              <a:spcAft>
                <a:spcPts val="0"/>
              </a:spcAft>
              <a:buClrTx/>
              <a:buSzTx/>
              <a:buFontTx/>
              <a:buNone/>
              <a:tabLst/>
              <a:defRPr/>
            </a:pPr>
            <a:r>
              <a:rPr lang="en-US" dirty="0">
                <a:solidFill>
                  <a:schemeClr val="accent4">
                    <a:lumMod val="50000"/>
                  </a:schemeClr>
                </a:solidFill>
                <a:latin typeface="Arial" panose="020B0604020202020204" pitchFamily="34" charset="0"/>
                <a:ea typeface="+mj-ea"/>
                <a:cs typeface="+mn-cs"/>
                <a:sym typeface="Sakkal Majalla" panose="02000000000000000000" pitchFamily="2" charset="-78"/>
              </a:rPr>
              <a:t>Agenda</a:t>
            </a:r>
          </a:p>
        </p:txBody>
      </p:sp>
      <p:cxnSp>
        <p:nvCxnSpPr>
          <p:cNvPr id="2" name="Straight Connector 1">
            <a:extLst>
              <a:ext uri="{FF2B5EF4-FFF2-40B4-BE49-F238E27FC236}">
                <a16:creationId xmlns:a16="http://schemas.microsoft.com/office/drawing/2014/main" id="{BF1935CC-0348-2023-BED8-06A02EFE2993}"/>
              </a:ext>
            </a:extLst>
          </p:cNvPr>
          <p:cNvCxnSpPr>
            <a:cxnSpLocks/>
          </p:cNvCxnSpPr>
          <p:nvPr/>
        </p:nvCxnSpPr>
        <p:spPr>
          <a:xfrm>
            <a:off x="301558" y="1084462"/>
            <a:ext cx="6031105"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A white wavy paper on a white background&#10;&#10;Description automatically generated">
            <a:extLst>
              <a:ext uri="{FF2B5EF4-FFF2-40B4-BE49-F238E27FC236}">
                <a16:creationId xmlns:a16="http://schemas.microsoft.com/office/drawing/2014/main" id="{91CCFD09-037F-472E-3318-3B037A0F5C01}"/>
              </a:ext>
            </a:extLst>
          </p:cNvPr>
          <p:cNvPicPr>
            <a:picLocks noChangeAspect="1"/>
          </p:cNvPicPr>
          <p:nvPr/>
        </p:nvPicPr>
        <p:blipFill rotWithShape="1">
          <a:blip r:embed="rId8" cstate="email">
            <a:alphaModFix amt="37000"/>
            <a:extLst>
              <a:ext uri="{28A0092B-C50C-407E-A947-70E740481C1C}">
                <a14:useLocalDpi xmlns:a14="http://schemas.microsoft.com/office/drawing/2010/main"/>
              </a:ext>
            </a:extLst>
          </a:blip>
          <a:srcRect/>
          <a:stretch/>
        </p:blipFill>
        <p:spPr>
          <a:xfrm>
            <a:off x="486661" y="1859105"/>
            <a:ext cx="11129846" cy="397713"/>
          </a:xfrm>
          <a:prstGeom prst="rect">
            <a:avLst/>
          </a:prstGeom>
          <a:ln>
            <a:solidFill>
              <a:srgbClr val="7F6000"/>
            </a:solidFill>
          </a:ln>
        </p:spPr>
      </p:pic>
      <p:sp>
        <p:nvSpPr>
          <p:cNvPr id="5" name="Rectangle 4">
            <a:extLst>
              <a:ext uri="{FF2B5EF4-FFF2-40B4-BE49-F238E27FC236}">
                <a16:creationId xmlns:a16="http://schemas.microsoft.com/office/drawing/2014/main" id="{2C958D1C-0370-DB83-A5C8-D7B0EAE1B8BD}"/>
              </a:ext>
            </a:extLst>
          </p:cNvPr>
          <p:cNvSpPr/>
          <p:nvPr/>
        </p:nvSpPr>
        <p:spPr>
          <a:xfrm>
            <a:off x="575493" y="1791937"/>
            <a:ext cx="6766783" cy="4611519"/>
          </a:xfrm>
          <a:prstGeom prst="rect">
            <a:avLst/>
          </a:prstGeom>
        </p:spPr>
        <p:txBody>
          <a:bodyPr wrap="square">
            <a:spAutoFit/>
          </a:bodyPr>
          <a:lstStyle/>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Welcome, Objectives and Agenda</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the industrial partnership</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Qatar Industrial Landscape</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Türkiye Industrial Landscape</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Companies Introduction and preliminary discussion</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Pharmaceuticals </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Agriculture, Food and Fertilizers </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Chemicals, Plastics And Downstream Products</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Metals, Minerals And Downstream Products</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Textiles</a:t>
            </a:r>
          </a:p>
          <a:p>
            <a:pPr marL="457200" indent="-457200" algn="l">
              <a:lnSpc>
                <a:spcPct val="150000"/>
              </a:lnSpc>
              <a:buFont typeface="+mj-lt"/>
              <a:buAutoNum type="arabicPeriod"/>
            </a:pPr>
            <a:endParaRPr lang="en-US" b="1" dirty="0">
              <a:solidFill>
                <a:srgbClr val="817A6C"/>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F650A0E9-547A-ADF1-A02F-672840BDF372}"/>
              </a:ext>
            </a:extLst>
          </p:cNvPr>
          <p:cNvSpPr/>
          <p:nvPr/>
        </p:nvSpPr>
        <p:spPr>
          <a:xfrm>
            <a:off x="502024" y="1186215"/>
            <a:ext cx="7714749"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Item</a:t>
            </a:r>
            <a:endParaRPr lang="en-US" sz="2400" dirty="0">
              <a:solidFill>
                <a:srgbClr val="866A2C"/>
              </a:solidFill>
              <a:latin typeface="Sakkal Majalla" panose="02000000000000000000" pitchFamily="2" charset="-78"/>
            </a:endParaRPr>
          </a:p>
        </p:txBody>
      </p:sp>
      <p:cxnSp>
        <p:nvCxnSpPr>
          <p:cNvPr id="9" name="Straight Connector 8">
            <a:extLst>
              <a:ext uri="{FF2B5EF4-FFF2-40B4-BE49-F238E27FC236}">
                <a16:creationId xmlns:a16="http://schemas.microsoft.com/office/drawing/2014/main" id="{18773E78-95FA-E6E2-B5C8-8678FEC50E66}"/>
              </a:ext>
            </a:extLst>
          </p:cNvPr>
          <p:cNvCxnSpPr>
            <a:cxnSpLocks/>
          </p:cNvCxnSpPr>
          <p:nvPr/>
        </p:nvCxnSpPr>
        <p:spPr>
          <a:xfrm flipH="1">
            <a:off x="575493" y="1755113"/>
            <a:ext cx="1161650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80484FC1-A82E-12C2-FAC4-E4553123F3D2}"/>
              </a:ext>
            </a:extLst>
          </p:cNvPr>
          <p:cNvSpPr/>
          <p:nvPr/>
        </p:nvSpPr>
        <p:spPr>
          <a:xfrm>
            <a:off x="9811974" y="1755113"/>
            <a:ext cx="2034385" cy="2534027"/>
          </a:xfrm>
          <a:prstGeom prst="rect">
            <a:avLst/>
          </a:prstGeom>
        </p:spPr>
        <p:txBody>
          <a:bodyPr wrap="square">
            <a:spAutoFit/>
          </a:bodyPr>
          <a:lstStyle/>
          <a:p>
            <a:pPr>
              <a:lnSpc>
                <a:spcPct val="150000"/>
              </a:lnSpc>
            </a:pPr>
            <a:r>
              <a:rPr lang="en-US" b="1" dirty="0">
                <a:solidFill>
                  <a:srgbClr val="817A6C"/>
                </a:solidFill>
                <a:latin typeface="Arial" panose="020B0604020202020204" pitchFamily="34" charset="0"/>
                <a:cs typeface="Arial" panose="020B0604020202020204" pitchFamily="34" charset="0"/>
              </a:rPr>
              <a:t>12:00 – 12:05</a:t>
            </a:r>
          </a:p>
          <a:p>
            <a:pPr>
              <a:lnSpc>
                <a:spcPct val="150000"/>
              </a:lnSpc>
            </a:pPr>
            <a:r>
              <a:rPr lang="en-US" b="1" dirty="0">
                <a:solidFill>
                  <a:srgbClr val="817A6C"/>
                </a:solidFill>
                <a:latin typeface="Arial" panose="020B0604020202020204" pitchFamily="34" charset="0"/>
                <a:cs typeface="Arial" panose="020B0604020202020204" pitchFamily="34" charset="0"/>
              </a:rPr>
              <a:t>12:05 – 12:15</a:t>
            </a:r>
          </a:p>
          <a:p>
            <a:pPr>
              <a:lnSpc>
                <a:spcPct val="150000"/>
              </a:lnSpc>
            </a:pPr>
            <a:r>
              <a:rPr lang="en-US" b="1" dirty="0">
                <a:solidFill>
                  <a:srgbClr val="817A6C"/>
                </a:solidFill>
                <a:latin typeface="Arial" panose="020B0604020202020204" pitchFamily="34" charset="0"/>
                <a:cs typeface="Arial" panose="020B0604020202020204" pitchFamily="34" charset="0"/>
              </a:rPr>
              <a:t>12:15 – 12:25</a:t>
            </a:r>
          </a:p>
          <a:p>
            <a:pPr>
              <a:lnSpc>
                <a:spcPct val="150000"/>
              </a:lnSpc>
            </a:pPr>
            <a:r>
              <a:rPr lang="en-US" b="1" dirty="0">
                <a:solidFill>
                  <a:srgbClr val="817A6C"/>
                </a:solidFill>
                <a:latin typeface="Arial" panose="020B0604020202020204" pitchFamily="34" charset="0"/>
                <a:cs typeface="Arial" panose="020B0604020202020204" pitchFamily="34" charset="0"/>
              </a:rPr>
              <a:t>12:25 – 12:35</a:t>
            </a:r>
          </a:p>
          <a:p>
            <a:pPr>
              <a:lnSpc>
                <a:spcPct val="150000"/>
              </a:lnSpc>
            </a:pPr>
            <a:r>
              <a:rPr lang="en-US" b="1" dirty="0">
                <a:solidFill>
                  <a:srgbClr val="817A6C"/>
                </a:solidFill>
                <a:latin typeface="Arial" panose="020B0604020202020204" pitchFamily="34" charset="0"/>
                <a:cs typeface="Arial" panose="020B0604020202020204" pitchFamily="34" charset="0"/>
              </a:rPr>
              <a:t>12:35 – 14:00</a:t>
            </a:r>
          </a:p>
          <a:p>
            <a:pPr>
              <a:lnSpc>
                <a:spcPct val="150000"/>
              </a:lnSpc>
            </a:pPr>
            <a:endParaRPr lang="ar-AE" b="1" dirty="0">
              <a:solidFill>
                <a:srgbClr val="817A6C"/>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00365DFC-6DF4-B5FF-2D42-CF5840451FA0}"/>
              </a:ext>
            </a:extLst>
          </p:cNvPr>
          <p:cNvSpPr/>
          <p:nvPr/>
        </p:nvSpPr>
        <p:spPr>
          <a:xfrm>
            <a:off x="7342277" y="1186215"/>
            <a:ext cx="1787210"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Time (UAE)</a:t>
            </a:r>
            <a:endParaRPr lang="en-US" sz="2400" dirty="0">
              <a:solidFill>
                <a:srgbClr val="866A2C"/>
              </a:solidFill>
              <a:latin typeface="Sakkal Majalla" panose="02000000000000000000" pitchFamily="2" charset="-78"/>
            </a:endParaRPr>
          </a:p>
        </p:txBody>
      </p:sp>
      <p:sp>
        <p:nvSpPr>
          <p:cNvPr id="12" name="Rectangle 11">
            <a:extLst>
              <a:ext uri="{FF2B5EF4-FFF2-40B4-BE49-F238E27FC236}">
                <a16:creationId xmlns:a16="http://schemas.microsoft.com/office/drawing/2014/main" id="{2C9A3CF5-EFAA-2FD2-614F-3B6AF6C4C214}"/>
              </a:ext>
            </a:extLst>
          </p:cNvPr>
          <p:cNvSpPr/>
          <p:nvPr/>
        </p:nvSpPr>
        <p:spPr>
          <a:xfrm>
            <a:off x="9767138" y="1186215"/>
            <a:ext cx="1787210"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Time (Qatar)</a:t>
            </a:r>
            <a:endParaRPr lang="en-US" sz="2400" dirty="0">
              <a:solidFill>
                <a:srgbClr val="866A2C"/>
              </a:solidFill>
              <a:latin typeface="Sakkal Majalla" panose="02000000000000000000" pitchFamily="2" charset="-78"/>
            </a:endParaRPr>
          </a:p>
        </p:txBody>
      </p:sp>
      <p:sp>
        <p:nvSpPr>
          <p:cNvPr id="13" name="Rectangle 12">
            <a:extLst>
              <a:ext uri="{FF2B5EF4-FFF2-40B4-BE49-F238E27FC236}">
                <a16:creationId xmlns:a16="http://schemas.microsoft.com/office/drawing/2014/main" id="{E3B80A7B-7463-1069-8995-9A3D9B1C0732}"/>
              </a:ext>
            </a:extLst>
          </p:cNvPr>
          <p:cNvSpPr/>
          <p:nvPr/>
        </p:nvSpPr>
        <p:spPr>
          <a:xfrm>
            <a:off x="7273049" y="1755113"/>
            <a:ext cx="2034385" cy="2534027"/>
          </a:xfrm>
          <a:prstGeom prst="rect">
            <a:avLst/>
          </a:prstGeom>
        </p:spPr>
        <p:txBody>
          <a:bodyPr wrap="square">
            <a:spAutoFit/>
          </a:bodyPr>
          <a:lstStyle/>
          <a:p>
            <a:pPr>
              <a:lnSpc>
                <a:spcPct val="150000"/>
              </a:lnSpc>
            </a:pPr>
            <a:r>
              <a:rPr lang="en-US" b="1" dirty="0">
                <a:solidFill>
                  <a:srgbClr val="817A6C"/>
                </a:solidFill>
                <a:latin typeface="Arial" panose="020B0604020202020204" pitchFamily="34" charset="0"/>
                <a:cs typeface="Arial" panose="020B0604020202020204" pitchFamily="34" charset="0"/>
              </a:rPr>
              <a:t>13:00 – 13:05</a:t>
            </a:r>
          </a:p>
          <a:p>
            <a:pPr>
              <a:lnSpc>
                <a:spcPct val="150000"/>
              </a:lnSpc>
            </a:pPr>
            <a:r>
              <a:rPr lang="en-US" b="1" dirty="0">
                <a:solidFill>
                  <a:srgbClr val="817A6C"/>
                </a:solidFill>
                <a:latin typeface="Arial" panose="020B0604020202020204" pitchFamily="34" charset="0"/>
                <a:cs typeface="Arial" panose="020B0604020202020204" pitchFamily="34" charset="0"/>
              </a:rPr>
              <a:t>13:05 – 13:15</a:t>
            </a:r>
          </a:p>
          <a:p>
            <a:pPr>
              <a:lnSpc>
                <a:spcPct val="150000"/>
              </a:lnSpc>
            </a:pPr>
            <a:r>
              <a:rPr lang="en-US" b="1" dirty="0">
                <a:solidFill>
                  <a:srgbClr val="817A6C"/>
                </a:solidFill>
                <a:latin typeface="Arial" panose="020B0604020202020204" pitchFamily="34" charset="0"/>
                <a:cs typeface="Arial" panose="020B0604020202020204" pitchFamily="34" charset="0"/>
              </a:rPr>
              <a:t>13:15 – 13:25</a:t>
            </a:r>
          </a:p>
          <a:p>
            <a:pPr>
              <a:lnSpc>
                <a:spcPct val="150000"/>
              </a:lnSpc>
            </a:pPr>
            <a:r>
              <a:rPr lang="en-US" b="1" dirty="0">
                <a:solidFill>
                  <a:srgbClr val="817A6C"/>
                </a:solidFill>
                <a:latin typeface="Arial" panose="020B0604020202020204" pitchFamily="34" charset="0"/>
                <a:cs typeface="Arial" panose="020B0604020202020204" pitchFamily="34" charset="0"/>
              </a:rPr>
              <a:t>14:25 – 14:35</a:t>
            </a:r>
          </a:p>
          <a:p>
            <a:pPr>
              <a:lnSpc>
                <a:spcPct val="150000"/>
              </a:lnSpc>
            </a:pPr>
            <a:r>
              <a:rPr lang="en-US" b="1" dirty="0">
                <a:solidFill>
                  <a:srgbClr val="817A6C"/>
                </a:solidFill>
                <a:latin typeface="Arial" panose="020B0604020202020204" pitchFamily="34" charset="0"/>
                <a:cs typeface="Arial" panose="020B0604020202020204" pitchFamily="34" charset="0"/>
              </a:rPr>
              <a:t>14:35 – 15:00</a:t>
            </a:r>
          </a:p>
          <a:p>
            <a:pPr>
              <a:lnSpc>
                <a:spcPct val="150000"/>
              </a:lnSpc>
            </a:pPr>
            <a:endParaRPr lang="ar-AE" b="1" dirty="0">
              <a:solidFill>
                <a:srgbClr val="817A6C"/>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38853B6A-E4FD-D705-2079-8BB9B0A1AB96}"/>
              </a:ext>
            </a:extLst>
          </p:cNvPr>
          <p:cNvSpPr/>
          <p:nvPr/>
        </p:nvSpPr>
        <p:spPr>
          <a:xfrm>
            <a:off x="9376660" y="5880258"/>
            <a:ext cx="1407669" cy="600740"/>
          </a:xfrm>
          <a:prstGeom prst="rect">
            <a:avLst/>
          </a:prstGeom>
        </p:spPr>
        <p:txBody>
          <a:bodyPr vert="horz" wrap="square" lIns="0" tIns="0" rIns="0" bIns="0" rtlCol="0" anchor="t">
            <a:noAutofit/>
          </a:bodyPr>
          <a:lstStyle/>
          <a:p>
            <a:pPr algn="ctr" rtl="1">
              <a:lnSpc>
                <a:spcPct val="90000"/>
              </a:lnSpc>
              <a:spcBef>
                <a:spcPct val="0"/>
              </a:spcBef>
            </a:pPr>
            <a:r>
              <a:rPr lang="en-US" sz="1600" b="1" dirty="0">
                <a:solidFill>
                  <a:srgbClr val="866A2C"/>
                </a:solidFill>
                <a:latin typeface="Arial" panose="020B0604020202020204" pitchFamily="34" charset="0"/>
                <a:ea typeface="+mj-ea"/>
                <a:cs typeface="Arial" panose="020B0604020202020204" pitchFamily="34" charset="0"/>
              </a:rPr>
              <a:t>Attendance Registration and Feedback</a:t>
            </a:r>
            <a:endParaRPr lang="ar-AE" sz="1600" b="1" dirty="0">
              <a:solidFill>
                <a:srgbClr val="866A2C"/>
              </a:solidFill>
              <a:latin typeface="Arial" panose="020B0604020202020204" pitchFamily="34" charset="0"/>
              <a:ea typeface="+mj-ea"/>
              <a:cs typeface="Arial" panose="020B0604020202020204" pitchFamily="34" charset="0"/>
            </a:endParaRPr>
          </a:p>
        </p:txBody>
      </p:sp>
      <p:pic>
        <p:nvPicPr>
          <p:cNvPr id="15" name="Picture 14">
            <a:extLst>
              <a:ext uri="{FF2B5EF4-FFF2-40B4-BE49-F238E27FC236}">
                <a16:creationId xmlns:a16="http://schemas.microsoft.com/office/drawing/2014/main" id="{37D3D615-D7D2-0577-56D2-CB5EE5FD71B6}"/>
              </a:ext>
            </a:extLst>
          </p:cNvPr>
          <p:cNvPicPr>
            <a:picLocks noChangeAspect="1"/>
          </p:cNvPicPr>
          <p:nvPr/>
        </p:nvPicPr>
        <p:blipFill>
          <a:blip r:embed="rId9"/>
          <a:stretch>
            <a:fillRect/>
          </a:stretch>
        </p:blipFill>
        <p:spPr>
          <a:xfrm>
            <a:off x="9461282" y="4487711"/>
            <a:ext cx="1238423" cy="1257475"/>
          </a:xfrm>
          <a:prstGeom prst="rect">
            <a:avLst/>
          </a:prstGeom>
        </p:spPr>
      </p:pic>
    </p:spTree>
    <p:custDataLst>
      <p:custData r:id="rId1"/>
    </p:custDataLst>
    <p:extLst>
      <p:ext uri="{BB962C8B-B14F-4D97-AF65-F5344CB8AC3E}">
        <p14:creationId xmlns:p14="http://schemas.microsoft.com/office/powerpoint/2010/main" val="2797184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98D53F-1376-F8FC-4A1D-21220E25EA97}"/>
            </a:ext>
          </a:extLst>
        </p:cNvPr>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B139D496-8E75-1C13-7932-78275CED6329}"/>
              </a:ext>
            </a:extLst>
          </p:cNvPr>
          <p:cNvCxnSpPr>
            <a:cxnSpLocks/>
          </p:cNvCxnSpPr>
          <p:nvPr/>
        </p:nvCxnSpPr>
        <p:spPr>
          <a:xfrm>
            <a:off x="8789353" y="1736287"/>
            <a:ext cx="612552" cy="0"/>
          </a:xfrm>
          <a:prstGeom prst="line">
            <a:avLst/>
          </a:prstGeom>
          <a:ln>
            <a:solidFill>
              <a:srgbClr val="7F6000"/>
            </a:solidFill>
          </a:ln>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02332624-FC54-B5A1-0D02-CA19443C597F}"/>
              </a:ext>
            </a:extLst>
          </p:cNvPr>
          <p:cNvCxnSpPr>
            <a:cxnSpLocks/>
          </p:cNvCxnSpPr>
          <p:nvPr/>
        </p:nvCxnSpPr>
        <p:spPr>
          <a:xfrm>
            <a:off x="10780759" y="1734206"/>
            <a:ext cx="612552" cy="0"/>
          </a:xfrm>
          <a:prstGeom prst="line">
            <a:avLst/>
          </a:prstGeom>
          <a:ln>
            <a:solidFill>
              <a:srgbClr val="7F6000"/>
            </a:solidFill>
          </a:ln>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97AF4163-84FC-8464-882E-2C82ED8E1B2F}"/>
              </a:ext>
            </a:extLst>
          </p:cNvPr>
          <p:cNvSpPr txBox="1"/>
          <p:nvPr/>
        </p:nvSpPr>
        <p:spPr>
          <a:xfrm>
            <a:off x="9132177" y="1507858"/>
            <a:ext cx="1982884" cy="369332"/>
          </a:xfrm>
          <a:prstGeom prst="rect">
            <a:avLst/>
          </a:prstGeom>
          <a:solidFill>
            <a:srgbClr val="7F6000"/>
          </a:solidFill>
        </p:spPr>
        <p:txBody>
          <a:bodyPr wrap="square" rtlCol="0">
            <a:spAutoFit/>
          </a:bodyPr>
          <a:lstStyle/>
          <a:p>
            <a:pPr algn="ctr" rtl="1"/>
            <a:r>
              <a:rPr lang="en-US" b="1" dirty="0">
                <a:solidFill>
                  <a:schemeClr val="bg1"/>
                </a:solidFill>
                <a:latin typeface="Arial" panose="020B0604020202020204" pitchFamily="34" charset="0"/>
                <a:cs typeface="Arial" panose="020B0604020202020204" pitchFamily="34" charset="0"/>
              </a:rPr>
              <a:t>Cost Reduction</a:t>
            </a:r>
          </a:p>
        </p:txBody>
      </p:sp>
      <p:sp>
        <p:nvSpPr>
          <p:cNvPr id="11" name="TextBox 10">
            <a:extLst>
              <a:ext uri="{FF2B5EF4-FFF2-40B4-BE49-F238E27FC236}">
                <a16:creationId xmlns:a16="http://schemas.microsoft.com/office/drawing/2014/main" id="{D28688D4-9C95-8B87-5B64-D4666CA04117}"/>
              </a:ext>
            </a:extLst>
          </p:cNvPr>
          <p:cNvSpPr txBox="1"/>
          <p:nvPr/>
        </p:nvSpPr>
        <p:spPr>
          <a:xfrm>
            <a:off x="9459414" y="1983803"/>
            <a:ext cx="1378853" cy="338554"/>
          </a:xfrm>
          <a:prstGeom prst="rect">
            <a:avLst/>
          </a:prstGeom>
          <a:noFill/>
        </p:spPr>
        <p:txBody>
          <a:bodyPr wrap="square" rtlCol="0">
            <a:spAutoFit/>
          </a:bodyPr>
          <a:lstStyle/>
          <a:p>
            <a:pPr algn="ctr"/>
            <a:r>
              <a:rPr lang="en-US" sz="1600" b="1" dirty="0">
                <a:solidFill>
                  <a:srgbClr val="817A6C"/>
                </a:solidFill>
                <a:latin typeface="Arial" panose="020B0604020202020204" pitchFamily="34" charset="0"/>
                <a:cs typeface="Arial" panose="020B0604020202020204" pitchFamily="34" charset="0"/>
              </a:rPr>
              <a:t>Land</a:t>
            </a:r>
            <a:r>
              <a:rPr lang="ar-QA" sz="1400" dirty="0">
                <a:solidFill>
                  <a:srgbClr val="817A6C"/>
                </a:solidFill>
                <a:latin typeface="Arial" panose="020B0604020202020204" pitchFamily="34" charset="0"/>
                <a:cs typeface="Arial" panose="020B0604020202020204" pitchFamily="34" charset="0"/>
              </a:rPr>
              <a:t> </a:t>
            </a:r>
            <a:endParaRPr lang="en-US" sz="1400" dirty="0">
              <a:solidFill>
                <a:srgbClr val="817A6C"/>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93FE881D-1289-DE49-1BF6-BE6DA727B0B7}"/>
              </a:ext>
            </a:extLst>
          </p:cNvPr>
          <p:cNvSpPr txBox="1"/>
          <p:nvPr/>
        </p:nvSpPr>
        <p:spPr>
          <a:xfrm>
            <a:off x="8838101" y="2085172"/>
            <a:ext cx="2529961" cy="1631216"/>
          </a:xfrm>
          <a:prstGeom prst="rect">
            <a:avLst/>
          </a:prstGeom>
          <a:noFill/>
        </p:spPr>
        <p:txBody>
          <a:bodyPr wrap="square" rtlCol="0">
            <a:spAutoFit/>
          </a:bodyPr>
          <a:lstStyle/>
          <a:p>
            <a:pPr marL="274293" indent="-226036" algn="r" defTabSz="914309" rtl="1">
              <a:buClr>
                <a:srgbClr val="8E1838"/>
              </a:buClr>
              <a:buSzPts val="1400"/>
              <a:buFont typeface="Arial"/>
              <a:buChar char="◥"/>
              <a:defRPr/>
            </a:pPr>
            <a:endParaRPr lang="en-US" sz="1200" kern="0" dirty="0">
              <a:solidFill>
                <a:schemeClr val="accent1"/>
              </a:solidFill>
              <a:latin typeface="Sakkal Majalla" panose="02000000000000000000" pitchFamily="2" charset="-78"/>
              <a:cs typeface="Sakkal Majalla" panose="02000000000000000000" pitchFamily="2" charset="-78"/>
              <a:sym typeface="Arial"/>
            </a:endParaRPr>
          </a:p>
          <a:p>
            <a:pPr marL="274293" indent="-226036" algn="l" defTabSz="914309">
              <a:buClr>
                <a:srgbClr val="7F6000"/>
              </a:buClr>
              <a:buSzPts val="1400"/>
              <a:buFont typeface="Arial"/>
              <a:buChar char="◥"/>
              <a:defRPr/>
            </a:pPr>
            <a:endParaRPr lang="en-US" sz="1200" b="1" kern="0" dirty="0">
              <a:solidFill>
                <a:srgbClr val="817A6C"/>
              </a:solidFill>
              <a:latin typeface="Sakkal Majalla" panose="02000000000000000000" pitchFamily="2" charset="-78"/>
              <a:cs typeface="Janna LT" panose="01000000000000000000"/>
              <a:sym typeface="Arial"/>
            </a:endParaRPr>
          </a:p>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Land Allocation with a Nominal Rent of 10 Qatari Riyals per Square Meter Annually</a:t>
            </a:r>
          </a:p>
          <a:p>
            <a:pPr marL="274293" indent="-226036" algn="r" defTabSz="914309" rtl="1">
              <a:buClr>
                <a:srgbClr val="8E1838"/>
              </a:buClr>
              <a:buSzPts val="1400"/>
              <a:buFont typeface="Arial"/>
              <a:buChar char="◥"/>
              <a:defRPr/>
            </a:pPr>
            <a:endParaRPr lang="ar-QA" sz="1400" kern="0" dirty="0">
              <a:solidFill>
                <a:srgbClr val="000000"/>
              </a:solidFill>
              <a:latin typeface="Sakkal Majalla" panose="02000000000000000000" pitchFamily="2" charset="-78"/>
              <a:cs typeface="Sakkal Majalla" panose="02000000000000000000" pitchFamily="2" charset="-78"/>
              <a:sym typeface="Arial"/>
            </a:endParaRPr>
          </a:p>
          <a:p>
            <a:pPr marL="48257" algn="r" defTabSz="914309" rtl="1">
              <a:buClr>
                <a:srgbClr val="8E1838"/>
              </a:buClr>
              <a:buSzPts val="1400"/>
              <a:defRPr/>
            </a:pPr>
            <a:endParaRPr lang="ar-QA" sz="1400" kern="0" dirty="0">
              <a:solidFill>
                <a:srgbClr val="000000"/>
              </a:solidFill>
              <a:latin typeface="Sakkal Majalla" panose="02000000000000000000" pitchFamily="2" charset="-78"/>
              <a:cs typeface="Sakkal Majalla" panose="02000000000000000000" pitchFamily="2" charset="-78"/>
              <a:sym typeface="Arial"/>
            </a:endParaRPr>
          </a:p>
        </p:txBody>
      </p:sp>
      <p:sp>
        <p:nvSpPr>
          <p:cNvPr id="13" name="TextBox 12">
            <a:extLst>
              <a:ext uri="{FF2B5EF4-FFF2-40B4-BE49-F238E27FC236}">
                <a16:creationId xmlns:a16="http://schemas.microsoft.com/office/drawing/2014/main" id="{68D39952-485A-941B-1762-A7F5D33294B1}"/>
              </a:ext>
            </a:extLst>
          </p:cNvPr>
          <p:cNvSpPr txBox="1"/>
          <p:nvPr/>
        </p:nvSpPr>
        <p:spPr>
          <a:xfrm>
            <a:off x="9205313" y="4109029"/>
            <a:ext cx="2030738" cy="1938992"/>
          </a:xfrm>
          <a:prstGeom prst="rect">
            <a:avLst/>
          </a:prstGeom>
          <a:noFill/>
        </p:spPr>
        <p:txBody>
          <a:bodyPr wrap="square" rtlCol="0">
            <a:spAutoFit/>
          </a:bodyPr>
          <a:lstStyle/>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Low Electricity Price 0.13 Qatari Riyals per kWh</a:t>
            </a:r>
          </a:p>
          <a:p>
            <a:pPr marL="274293" indent="-226036" algn="l" defTabSz="914309">
              <a:buClr>
                <a:srgbClr val="7F6000"/>
              </a:buClr>
              <a:buSzPts val="1400"/>
              <a:buFont typeface="Arial"/>
              <a:buChar char="◥"/>
              <a:defRPr/>
            </a:pPr>
            <a:endParaRPr lang="en-US" sz="1200" kern="0" dirty="0">
              <a:solidFill>
                <a:srgbClr val="817A6C"/>
              </a:solidFill>
              <a:latin typeface="Arial" panose="020B0604020202020204" pitchFamily="34" charset="0"/>
              <a:cs typeface="Arial" panose="020B0604020202020204" pitchFamily="34" charset="0"/>
              <a:sym typeface="Arial"/>
            </a:endParaRPr>
          </a:p>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Low Water Price                 5.4 Qatari Riyals per cubic meter</a:t>
            </a:r>
          </a:p>
          <a:p>
            <a:pPr marL="274293" indent="-226036" algn="l" defTabSz="914309">
              <a:buClr>
                <a:srgbClr val="7F6000"/>
              </a:buClr>
              <a:buSzPts val="1400"/>
              <a:buFont typeface="Arial"/>
              <a:buChar char="◥"/>
              <a:defRPr/>
            </a:pPr>
            <a:endParaRPr lang="en-US" sz="1200" kern="0" dirty="0">
              <a:solidFill>
                <a:srgbClr val="817A6C"/>
              </a:solidFill>
              <a:latin typeface="Arial" panose="020B0604020202020204" pitchFamily="34" charset="0"/>
              <a:cs typeface="Arial" panose="020B0604020202020204" pitchFamily="34" charset="0"/>
              <a:sym typeface="Arial"/>
            </a:endParaRPr>
          </a:p>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Reduced Gas Costs </a:t>
            </a:r>
            <a:r>
              <a:rPr lang="ar-QA" sz="1200" kern="0" dirty="0">
                <a:solidFill>
                  <a:srgbClr val="817A6C"/>
                </a:solidFill>
                <a:latin typeface="Arial" panose="020B0604020202020204" pitchFamily="34" charset="0"/>
                <a:cs typeface="Arial" panose="020B0604020202020204" pitchFamily="34" charset="0"/>
                <a:sym typeface="Arial"/>
              </a:rPr>
              <a:t>    </a:t>
            </a:r>
          </a:p>
        </p:txBody>
      </p:sp>
      <p:sp>
        <p:nvSpPr>
          <p:cNvPr id="14" name="TextBox 13">
            <a:extLst>
              <a:ext uri="{FF2B5EF4-FFF2-40B4-BE49-F238E27FC236}">
                <a16:creationId xmlns:a16="http://schemas.microsoft.com/office/drawing/2014/main" id="{6D547866-CC02-42D0-B527-90A7C80FDBCC}"/>
              </a:ext>
            </a:extLst>
          </p:cNvPr>
          <p:cNvSpPr txBox="1"/>
          <p:nvPr/>
        </p:nvSpPr>
        <p:spPr>
          <a:xfrm>
            <a:off x="9045290" y="3582689"/>
            <a:ext cx="2209173" cy="584775"/>
          </a:xfrm>
          <a:prstGeom prst="rect">
            <a:avLst/>
          </a:prstGeom>
          <a:noFill/>
        </p:spPr>
        <p:txBody>
          <a:bodyPr wrap="square" rtlCol="0">
            <a:spAutoFit/>
          </a:bodyPr>
          <a:lstStyle>
            <a:defPPr>
              <a:defRPr lang="en-US"/>
            </a:defPPr>
            <a:lvl1pPr algn="ctr" rtl="1">
              <a:defRPr sz="1600" b="1">
                <a:solidFill>
                  <a:srgbClr val="817A6C"/>
                </a:solidFill>
                <a:latin typeface="Sakkal Majalla" panose="02000000000000000000" pitchFamily="2" charset="-78"/>
                <a:cs typeface="Janna LT" panose="01000000000000000000"/>
              </a:defRPr>
            </a:lvl1pPr>
          </a:lstStyle>
          <a:p>
            <a:r>
              <a:rPr lang="en-US" dirty="0">
                <a:latin typeface="Arial" panose="020B0604020202020204" pitchFamily="34" charset="0"/>
                <a:cs typeface="Arial" panose="020B0604020202020204" pitchFamily="34" charset="0"/>
              </a:rPr>
              <a:t>Essential Facilities and Services</a:t>
            </a:r>
          </a:p>
        </p:txBody>
      </p:sp>
      <p:pic>
        <p:nvPicPr>
          <p:cNvPr id="15" name="Graphic 14" descr="Electric Tower with solid fill">
            <a:extLst>
              <a:ext uri="{FF2B5EF4-FFF2-40B4-BE49-F238E27FC236}">
                <a16:creationId xmlns:a16="http://schemas.microsoft.com/office/drawing/2014/main" id="{9877BF11-A9D5-C874-AFC4-151A0FCDC4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38101" y="4170072"/>
            <a:ext cx="501705" cy="321590"/>
          </a:xfrm>
          <a:prstGeom prst="rect">
            <a:avLst/>
          </a:prstGeom>
        </p:spPr>
      </p:pic>
      <p:cxnSp>
        <p:nvCxnSpPr>
          <p:cNvPr id="16" name="Straight Connector 15">
            <a:extLst>
              <a:ext uri="{FF2B5EF4-FFF2-40B4-BE49-F238E27FC236}">
                <a16:creationId xmlns:a16="http://schemas.microsoft.com/office/drawing/2014/main" id="{A300AD94-9165-A8EE-2B43-411024734F62}"/>
              </a:ext>
            </a:extLst>
          </p:cNvPr>
          <p:cNvCxnSpPr>
            <a:cxnSpLocks/>
          </p:cNvCxnSpPr>
          <p:nvPr/>
        </p:nvCxnSpPr>
        <p:spPr>
          <a:xfrm>
            <a:off x="8800925" y="3595619"/>
            <a:ext cx="2603961" cy="0"/>
          </a:xfrm>
          <a:prstGeom prst="line">
            <a:avLst/>
          </a:prstGeom>
          <a:ln w="3175">
            <a:solidFill>
              <a:schemeClr val="accent3">
                <a:lumMod val="50000"/>
              </a:schemeClr>
            </a:solidFill>
            <a:prstDash val="sysDot"/>
          </a:ln>
        </p:spPr>
        <p:style>
          <a:lnRef idx="2">
            <a:schemeClr val="accent1"/>
          </a:lnRef>
          <a:fillRef idx="0">
            <a:schemeClr val="accent1"/>
          </a:fillRef>
          <a:effectRef idx="1">
            <a:schemeClr val="accent1"/>
          </a:effectRef>
          <a:fontRef idx="minor">
            <a:schemeClr val="tx1"/>
          </a:fontRef>
        </p:style>
      </p:cxnSp>
      <p:pic>
        <p:nvPicPr>
          <p:cNvPr id="17" name="Graphic 16" descr="Handwashing with solid fill">
            <a:extLst>
              <a:ext uri="{FF2B5EF4-FFF2-40B4-BE49-F238E27FC236}">
                <a16:creationId xmlns:a16="http://schemas.microsoft.com/office/drawing/2014/main" id="{4E16D402-5C41-DD7F-5EAD-CAAF96C541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14772" y="4917807"/>
            <a:ext cx="322920" cy="249567"/>
          </a:xfrm>
          <a:prstGeom prst="rect">
            <a:avLst/>
          </a:prstGeom>
        </p:spPr>
      </p:pic>
      <p:pic>
        <p:nvPicPr>
          <p:cNvPr id="18" name="Graphic 17" descr="Fuel with solid fill">
            <a:extLst>
              <a:ext uri="{FF2B5EF4-FFF2-40B4-BE49-F238E27FC236}">
                <a16:creationId xmlns:a16="http://schemas.microsoft.com/office/drawing/2014/main" id="{01183836-0287-BDF7-5CE9-69C826B8DA6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49754" y="5567641"/>
            <a:ext cx="418668" cy="321590"/>
          </a:xfrm>
          <a:prstGeom prst="rect">
            <a:avLst/>
          </a:prstGeom>
        </p:spPr>
      </p:pic>
      <p:sp>
        <p:nvSpPr>
          <p:cNvPr id="19" name="Google Shape;656;p50">
            <a:extLst>
              <a:ext uri="{FF2B5EF4-FFF2-40B4-BE49-F238E27FC236}">
                <a16:creationId xmlns:a16="http://schemas.microsoft.com/office/drawing/2014/main" id="{2F24E878-825C-1DFC-00D4-2D5655AFB4BE}"/>
              </a:ext>
            </a:extLst>
          </p:cNvPr>
          <p:cNvSpPr/>
          <p:nvPr/>
        </p:nvSpPr>
        <p:spPr>
          <a:xfrm>
            <a:off x="4578757" y="6322334"/>
            <a:ext cx="2603961" cy="86689"/>
          </a:xfrm>
          <a:prstGeom prst="rect">
            <a:avLst/>
          </a:prstGeom>
          <a:solidFill>
            <a:srgbClr val="7F6000"/>
          </a:solidFill>
          <a:ln>
            <a:noFill/>
          </a:ln>
        </p:spPr>
        <p:txBody>
          <a:bodyPr spcFirstLastPara="1" wrap="square" lIns="91413" tIns="91413" rIns="91413" bIns="91413" anchor="ctr" anchorCtr="0">
            <a:noAutofit/>
          </a:bodyPr>
          <a:lstStyle/>
          <a:p>
            <a:pPr defTabSz="914309">
              <a:buClr>
                <a:srgbClr val="000000"/>
              </a:buClr>
            </a:pPr>
            <a:endParaRPr sz="1600" kern="0">
              <a:solidFill>
                <a:srgbClr val="000000"/>
              </a:solidFill>
              <a:latin typeface="Sakkal Majalla" panose="02000000000000000000" pitchFamily="2" charset="-78"/>
              <a:cs typeface="Sakkal Majalla" panose="02000000000000000000" pitchFamily="2" charset="-78"/>
              <a:sym typeface="Arial"/>
            </a:endParaRPr>
          </a:p>
        </p:txBody>
      </p:sp>
      <p:cxnSp>
        <p:nvCxnSpPr>
          <p:cNvPr id="20" name="Straight Connector 19">
            <a:extLst>
              <a:ext uri="{FF2B5EF4-FFF2-40B4-BE49-F238E27FC236}">
                <a16:creationId xmlns:a16="http://schemas.microsoft.com/office/drawing/2014/main" id="{2076C58F-A4F3-B395-FDEA-BDC55CD25958}"/>
              </a:ext>
            </a:extLst>
          </p:cNvPr>
          <p:cNvCxnSpPr>
            <a:cxnSpLocks/>
            <a:endCxn id="19" idx="1"/>
          </p:cNvCxnSpPr>
          <p:nvPr/>
        </p:nvCxnSpPr>
        <p:spPr>
          <a:xfrm>
            <a:off x="4578756" y="1686365"/>
            <a:ext cx="1" cy="4679314"/>
          </a:xfrm>
          <a:prstGeom prst="line">
            <a:avLst/>
          </a:prstGeom>
        </p:spPr>
        <p:style>
          <a:lnRef idx="2">
            <a:schemeClr val="dk1"/>
          </a:lnRef>
          <a:fillRef idx="0">
            <a:schemeClr val="dk1"/>
          </a:fillRef>
          <a:effectRef idx="1">
            <a:schemeClr val="dk1"/>
          </a:effectRef>
          <a:fontRef idx="minor">
            <a:schemeClr val="tx1"/>
          </a:fontRef>
        </p:style>
      </p:cxnSp>
      <p:cxnSp>
        <p:nvCxnSpPr>
          <p:cNvPr id="21" name="Straight Connector 20">
            <a:extLst>
              <a:ext uri="{FF2B5EF4-FFF2-40B4-BE49-F238E27FC236}">
                <a16:creationId xmlns:a16="http://schemas.microsoft.com/office/drawing/2014/main" id="{926D0C6B-05A7-62A5-27BA-86619A1DE688}"/>
              </a:ext>
            </a:extLst>
          </p:cNvPr>
          <p:cNvCxnSpPr>
            <a:cxnSpLocks/>
            <a:endCxn id="19" idx="3"/>
          </p:cNvCxnSpPr>
          <p:nvPr/>
        </p:nvCxnSpPr>
        <p:spPr>
          <a:xfrm>
            <a:off x="7182717" y="1712487"/>
            <a:ext cx="1" cy="4653192"/>
          </a:xfrm>
          <a:prstGeom prst="line">
            <a:avLst/>
          </a:prstGeom>
        </p:spPr>
        <p:style>
          <a:lnRef idx="2">
            <a:schemeClr val="dk1"/>
          </a:lnRef>
          <a:fillRef idx="0">
            <a:schemeClr val="dk1"/>
          </a:fillRef>
          <a:effectRef idx="1">
            <a:schemeClr val="dk1"/>
          </a:effectRef>
          <a:fontRef idx="minor">
            <a:schemeClr val="tx1"/>
          </a:fontRef>
        </p:style>
      </p:cxnSp>
      <p:cxnSp>
        <p:nvCxnSpPr>
          <p:cNvPr id="22" name="Straight Connector 21">
            <a:extLst>
              <a:ext uri="{FF2B5EF4-FFF2-40B4-BE49-F238E27FC236}">
                <a16:creationId xmlns:a16="http://schemas.microsoft.com/office/drawing/2014/main" id="{C29BF239-0DDF-B7C8-EE4D-94049E20739B}"/>
              </a:ext>
            </a:extLst>
          </p:cNvPr>
          <p:cNvCxnSpPr>
            <a:cxnSpLocks/>
          </p:cNvCxnSpPr>
          <p:nvPr/>
        </p:nvCxnSpPr>
        <p:spPr>
          <a:xfrm>
            <a:off x="4578756" y="1691749"/>
            <a:ext cx="612552" cy="0"/>
          </a:xfrm>
          <a:prstGeom prst="line">
            <a:avLst/>
          </a:prstGeom>
          <a:ln>
            <a:solidFill>
              <a:srgbClr val="7F6000"/>
            </a:solidFill>
          </a:ln>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2E007CA5-2405-B40A-F066-52B4C15E4CD2}"/>
              </a:ext>
            </a:extLst>
          </p:cNvPr>
          <p:cNvCxnSpPr>
            <a:cxnSpLocks/>
          </p:cNvCxnSpPr>
          <p:nvPr/>
        </p:nvCxnSpPr>
        <p:spPr>
          <a:xfrm>
            <a:off x="6581736" y="1691749"/>
            <a:ext cx="612552" cy="0"/>
          </a:xfrm>
          <a:prstGeom prst="line">
            <a:avLst/>
          </a:prstGeom>
          <a:ln>
            <a:solidFill>
              <a:srgbClr val="7F6000"/>
            </a:solidFill>
          </a:ln>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866412C1-A4F1-1988-75BF-BF29CDBB9781}"/>
              </a:ext>
            </a:extLst>
          </p:cNvPr>
          <p:cNvSpPr txBox="1"/>
          <p:nvPr/>
        </p:nvSpPr>
        <p:spPr>
          <a:xfrm>
            <a:off x="4851046" y="1346437"/>
            <a:ext cx="2103598" cy="646331"/>
          </a:xfrm>
          <a:prstGeom prst="rect">
            <a:avLst/>
          </a:prstGeom>
          <a:solidFill>
            <a:srgbClr val="7F6000"/>
          </a:solidFill>
        </p:spPr>
        <p:txBody>
          <a:bodyPr wrap="square" rtlCol="0">
            <a:spAutoFit/>
          </a:bodyPr>
          <a:lstStyle/>
          <a:p>
            <a:pPr algn="ctr" rtl="1"/>
            <a:r>
              <a:rPr lang="en-US" b="1" dirty="0">
                <a:solidFill>
                  <a:schemeClr val="bg1"/>
                </a:solidFill>
                <a:latin typeface="Arial" panose="020B0604020202020204" pitchFamily="34" charset="0"/>
                <a:cs typeface="Arial" panose="020B0604020202020204" pitchFamily="34" charset="0"/>
              </a:rPr>
              <a:t>Incentives and Facilitations</a:t>
            </a:r>
          </a:p>
        </p:txBody>
      </p:sp>
      <p:sp>
        <p:nvSpPr>
          <p:cNvPr id="25" name="TextBox 24">
            <a:extLst>
              <a:ext uri="{FF2B5EF4-FFF2-40B4-BE49-F238E27FC236}">
                <a16:creationId xmlns:a16="http://schemas.microsoft.com/office/drawing/2014/main" id="{58B78D5E-E076-7BFF-3F41-F7B366A3E49E}"/>
              </a:ext>
            </a:extLst>
          </p:cNvPr>
          <p:cNvSpPr txBox="1"/>
          <p:nvPr/>
        </p:nvSpPr>
        <p:spPr>
          <a:xfrm>
            <a:off x="5069200" y="2011251"/>
            <a:ext cx="1623073" cy="338554"/>
          </a:xfrm>
          <a:prstGeom prst="rect">
            <a:avLst/>
          </a:prstGeom>
          <a:noFill/>
        </p:spPr>
        <p:txBody>
          <a:bodyPr wrap="square" rtlCol="0">
            <a:spAutoFit/>
          </a:bodyPr>
          <a:lstStyle/>
          <a:p>
            <a:pPr algn="ctr" rtl="1"/>
            <a:r>
              <a:rPr lang="en-US" sz="1600" b="1" dirty="0">
                <a:solidFill>
                  <a:srgbClr val="817A6C"/>
                </a:solidFill>
                <a:latin typeface="Arial" panose="020B0604020202020204" pitchFamily="34" charset="0"/>
                <a:cs typeface="Arial" panose="020B0604020202020204" pitchFamily="34" charset="0"/>
              </a:rPr>
              <a:t>Market</a:t>
            </a:r>
            <a:endParaRPr lang="en-US" sz="1400" dirty="0">
              <a:solidFill>
                <a:srgbClr val="817A6C"/>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1045A5CE-EB51-DA48-9E9F-680CB2723895}"/>
              </a:ext>
            </a:extLst>
          </p:cNvPr>
          <p:cNvSpPr txBox="1"/>
          <p:nvPr/>
        </p:nvSpPr>
        <p:spPr>
          <a:xfrm>
            <a:off x="4936465" y="4652235"/>
            <a:ext cx="1864818" cy="338554"/>
          </a:xfrm>
          <a:prstGeom prst="rect">
            <a:avLst/>
          </a:prstGeom>
          <a:noFill/>
        </p:spPr>
        <p:txBody>
          <a:bodyPr wrap="square" rtlCol="0">
            <a:spAutoFit/>
          </a:bodyPr>
          <a:lstStyle/>
          <a:p>
            <a:pPr algn="ctr" rtl="1"/>
            <a:r>
              <a:rPr lang="en-US" sz="1600" b="1" dirty="0">
                <a:solidFill>
                  <a:srgbClr val="817A6C"/>
                </a:solidFill>
                <a:latin typeface="Arial" panose="020B0604020202020204" pitchFamily="34" charset="0"/>
                <a:cs typeface="Arial" panose="020B0604020202020204" pitchFamily="34" charset="0"/>
              </a:rPr>
              <a:t>Taxes</a:t>
            </a:r>
            <a:endParaRPr lang="en-US" sz="1200" dirty="0">
              <a:latin typeface="Arial" panose="020B0604020202020204" pitchFamily="34" charset="0"/>
              <a:cs typeface="Arial" panose="020B0604020202020204" pitchFamily="34" charset="0"/>
            </a:endParaRPr>
          </a:p>
        </p:txBody>
      </p:sp>
      <p:cxnSp>
        <p:nvCxnSpPr>
          <p:cNvPr id="29" name="Straight Connector 28">
            <a:extLst>
              <a:ext uri="{FF2B5EF4-FFF2-40B4-BE49-F238E27FC236}">
                <a16:creationId xmlns:a16="http://schemas.microsoft.com/office/drawing/2014/main" id="{961DEDD7-9AE0-2F97-3B81-1CBA86613349}"/>
              </a:ext>
            </a:extLst>
          </p:cNvPr>
          <p:cNvCxnSpPr>
            <a:cxnSpLocks/>
          </p:cNvCxnSpPr>
          <p:nvPr/>
        </p:nvCxnSpPr>
        <p:spPr>
          <a:xfrm>
            <a:off x="4600864" y="5002014"/>
            <a:ext cx="2603961" cy="0"/>
          </a:xfrm>
          <a:prstGeom prst="line">
            <a:avLst/>
          </a:prstGeom>
          <a:ln w="3175">
            <a:solidFill>
              <a:schemeClr val="accent3">
                <a:lumMod val="50000"/>
              </a:schemeClr>
            </a:solidFill>
            <a:prstDash val="sysDot"/>
          </a:ln>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66E77DAA-6AEF-6CCD-41CB-37462E38A5E3}"/>
              </a:ext>
            </a:extLst>
          </p:cNvPr>
          <p:cNvCxnSpPr>
            <a:cxnSpLocks/>
          </p:cNvCxnSpPr>
          <p:nvPr/>
        </p:nvCxnSpPr>
        <p:spPr>
          <a:xfrm>
            <a:off x="677732" y="1673306"/>
            <a:ext cx="612552" cy="0"/>
          </a:xfrm>
          <a:prstGeom prst="line">
            <a:avLst/>
          </a:prstGeom>
          <a:ln>
            <a:solidFill>
              <a:srgbClr val="7F6000"/>
            </a:solidFill>
          </a:ln>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2E31C530-8252-9043-9537-03067E6F8C5C}"/>
              </a:ext>
            </a:extLst>
          </p:cNvPr>
          <p:cNvCxnSpPr>
            <a:cxnSpLocks/>
          </p:cNvCxnSpPr>
          <p:nvPr/>
        </p:nvCxnSpPr>
        <p:spPr>
          <a:xfrm>
            <a:off x="2680712" y="1673306"/>
            <a:ext cx="612552" cy="0"/>
          </a:xfrm>
          <a:prstGeom prst="line">
            <a:avLst/>
          </a:prstGeom>
          <a:ln>
            <a:solidFill>
              <a:srgbClr val="7F6000"/>
            </a:solidFill>
          </a:ln>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39F246FD-4A85-7C73-CF40-1CBD4980E8CC}"/>
              </a:ext>
            </a:extLst>
          </p:cNvPr>
          <p:cNvSpPr txBox="1"/>
          <p:nvPr/>
        </p:nvSpPr>
        <p:spPr>
          <a:xfrm>
            <a:off x="1297013" y="1271679"/>
            <a:ext cx="1378853" cy="646331"/>
          </a:xfrm>
          <a:prstGeom prst="rect">
            <a:avLst/>
          </a:prstGeom>
          <a:solidFill>
            <a:srgbClr val="7F6000"/>
          </a:solidFill>
        </p:spPr>
        <p:txBody>
          <a:bodyPr wrap="square" rtlCol="0">
            <a:spAutoFit/>
          </a:bodyPr>
          <a:lstStyle/>
          <a:p>
            <a:pPr algn="ctr" rtl="1"/>
            <a:r>
              <a:rPr lang="en-US" b="1" dirty="0">
                <a:solidFill>
                  <a:schemeClr val="bg1"/>
                </a:solidFill>
                <a:latin typeface="Arial" panose="020B0604020202020204" pitchFamily="34" charset="0"/>
                <a:cs typeface="Arial" panose="020B0604020202020204" pitchFamily="34" charset="0"/>
              </a:rPr>
              <a:t>Financial support</a:t>
            </a:r>
          </a:p>
        </p:txBody>
      </p:sp>
      <p:sp>
        <p:nvSpPr>
          <p:cNvPr id="36" name="TextBox 35">
            <a:extLst>
              <a:ext uri="{FF2B5EF4-FFF2-40B4-BE49-F238E27FC236}">
                <a16:creationId xmlns:a16="http://schemas.microsoft.com/office/drawing/2014/main" id="{294021B6-9D16-E56B-3FC4-4A0AAC76FB71}"/>
              </a:ext>
            </a:extLst>
          </p:cNvPr>
          <p:cNvSpPr txBox="1"/>
          <p:nvPr/>
        </p:nvSpPr>
        <p:spPr>
          <a:xfrm>
            <a:off x="1419635" y="1815006"/>
            <a:ext cx="1378853" cy="338554"/>
          </a:xfrm>
          <a:prstGeom prst="rect">
            <a:avLst/>
          </a:prstGeom>
          <a:noFill/>
        </p:spPr>
        <p:txBody>
          <a:bodyPr wrap="square" rtlCol="0">
            <a:spAutoFit/>
          </a:bodyPr>
          <a:lstStyle/>
          <a:p>
            <a:pPr algn="ctr" rtl="1"/>
            <a:r>
              <a:rPr lang="en-US" sz="1600" b="1" dirty="0">
                <a:solidFill>
                  <a:srgbClr val="660033"/>
                </a:solidFill>
                <a:latin typeface="Sakkal Majalla" panose="02000000000000000000" pitchFamily="2" charset="-78"/>
                <a:cs typeface="Sakkal Majalla" panose="02000000000000000000" pitchFamily="2" charset="-78"/>
              </a:rPr>
              <a:t>       </a:t>
            </a:r>
            <a:endParaRPr lang="en-US" sz="1400" dirty="0">
              <a:latin typeface="Sakkal Majalla" panose="02000000000000000000" pitchFamily="2" charset="-78"/>
              <a:cs typeface="Sakkal Majalla" panose="02000000000000000000" pitchFamily="2" charset="-78"/>
            </a:endParaRPr>
          </a:p>
        </p:txBody>
      </p:sp>
      <p:sp>
        <p:nvSpPr>
          <p:cNvPr id="37" name="TextBox 36">
            <a:extLst>
              <a:ext uri="{FF2B5EF4-FFF2-40B4-BE49-F238E27FC236}">
                <a16:creationId xmlns:a16="http://schemas.microsoft.com/office/drawing/2014/main" id="{DCC2BE0C-2C99-7AFC-CBAA-B2499AD0BA44}"/>
              </a:ext>
            </a:extLst>
          </p:cNvPr>
          <p:cNvSpPr txBox="1"/>
          <p:nvPr/>
        </p:nvSpPr>
        <p:spPr>
          <a:xfrm>
            <a:off x="780296" y="2030233"/>
            <a:ext cx="2398935" cy="2154436"/>
          </a:xfrm>
          <a:prstGeom prst="rect">
            <a:avLst/>
          </a:prstGeom>
          <a:noFill/>
        </p:spPr>
        <p:txBody>
          <a:bodyPr wrap="square" rtlCol="0">
            <a:spAutoFit/>
          </a:bodyPr>
          <a:lstStyle/>
          <a:p>
            <a:pPr marL="274293" indent="-226036" algn="r" defTabSz="914309" rtl="1">
              <a:buClr>
                <a:srgbClr val="8E1838"/>
              </a:buClr>
              <a:buSzPts val="1400"/>
              <a:buFont typeface="Arial"/>
              <a:buChar char="◥"/>
              <a:defRPr/>
            </a:pPr>
            <a:endParaRPr lang="en-US" sz="1200" kern="0" dirty="0">
              <a:solidFill>
                <a:schemeClr val="accent1"/>
              </a:solidFill>
              <a:latin typeface="Arial" panose="020B0604020202020204" pitchFamily="34" charset="0"/>
              <a:cs typeface="Arial" panose="020B0604020202020204" pitchFamily="34" charset="0"/>
              <a:sym typeface="Arial"/>
            </a:endParaRPr>
          </a:p>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Loan Facilities Through Local Banks</a:t>
            </a:r>
          </a:p>
          <a:p>
            <a:pPr marL="274293" indent="-226036" algn="l" defTabSz="914309">
              <a:buClr>
                <a:srgbClr val="7F6000"/>
              </a:buClr>
              <a:buSzPts val="1400"/>
              <a:buFont typeface="Arial"/>
              <a:buChar char="◥"/>
              <a:defRPr/>
            </a:pPr>
            <a:endParaRPr lang="en-US" sz="1200" kern="0" dirty="0">
              <a:solidFill>
                <a:srgbClr val="817A6C"/>
              </a:solidFill>
              <a:latin typeface="Arial" panose="020B0604020202020204" pitchFamily="34" charset="0"/>
              <a:cs typeface="Arial" panose="020B0604020202020204" pitchFamily="34" charset="0"/>
              <a:sym typeface="Arial"/>
            </a:endParaRPr>
          </a:p>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Financial Incentives for Research and Development Projects</a:t>
            </a:r>
          </a:p>
          <a:p>
            <a:pPr marL="274293" indent="-226036" algn="l" defTabSz="914309">
              <a:buClr>
                <a:srgbClr val="7F6000"/>
              </a:buClr>
              <a:buSzPts val="1400"/>
              <a:buFont typeface="Arial"/>
              <a:buChar char="◥"/>
              <a:defRPr/>
            </a:pPr>
            <a:endParaRPr lang="en-US" sz="1200" kern="0" dirty="0">
              <a:solidFill>
                <a:srgbClr val="817A6C"/>
              </a:solidFill>
              <a:latin typeface="Arial" panose="020B0604020202020204" pitchFamily="34" charset="0"/>
              <a:cs typeface="Arial" panose="020B0604020202020204" pitchFamily="34" charset="0"/>
              <a:sym typeface="Arial"/>
            </a:endParaRPr>
          </a:p>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Opportunity for Equity Participation</a:t>
            </a:r>
            <a:endParaRPr lang="ar-QA" sz="1200" kern="0" dirty="0">
              <a:solidFill>
                <a:srgbClr val="000000"/>
              </a:solidFill>
              <a:latin typeface="Arial" panose="020B0604020202020204" pitchFamily="34" charset="0"/>
              <a:cs typeface="Arial" panose="020B0604020202020204" pitchFamily="34" charset="0"/>
              <a:sym typeface="Arial"/>
            </a:endParaRPr>
          </a:p>
          <a:p>
            <a:pPr marL="48257" algn="r" defTabSz="914309" rtl="1">
              <a:buClr>
                <a:srgbClr val="8E1838"/>
              </a:buClr>
              <a:buSzPts val="1400"/>
              <a:defRPr/>
            </a:pPr>
            <a:endParaRPr lang="ar-QA" sz="1400" kern="0" dirty="0">
              <a:solidFill>
                <a:srgbClr val="000000"/>
              </a:solidFill>
              <a:latin typeface="Sakkal Majalla" panose="02000000000000000000" pitchFamily="2" charset="-78"/>
              <a:cs typeface="Sakkal Majalla" panose="02000000000000000000" pitchFamily="2" charset="-78"/>
              <a:sym typeface="Arial"/>
            </a:endParaRPr>
          </a:p>
        </p:txBody>
      </p:sp>
      <p:pic>
        <p:nvPicPr>
          <p:cNvPr id="39" name="Graphic 38" descr="Factory with solid fill">
            <a:extLst>
              <a:ext uri="{FF2B5EF4-FFF2-40B4-BE49-F238E27FC236}">
                <a16:creationId xmlns:a16="http://schemas.microsoft.com/office/drawing/2014/main" id="{488169A5-AA8B-0F5D-AAD1-3282633A4F6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849754" y="1832710"/>
            <a:ext cx="452956" cy="395194"/>
          </a:xfrm>
          <a:prstGeom prst="rect">
            <a:avLst/>
          </a:prstGeom>
        </p:spPr>
      </p:pic>
      <p:pic>
        <p:nvPicPr>
          <p:cNvPr id="40" name="Graphic 39" descr="Tax with solid fill">
            <a:extLst>
              <a:ext uri="{FF2B5EF4-FFF2-40B4-BE49-F238E27FC236}">
                <a16:creationId xmlns:a16="http://schemas.microsoft.com/office/drawing/2014/main" id="{DD92797B-F7EA-219D-F2E9-6214ACC1449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662781" y="4466634"/>
            <a:ext cx="594851" cy="575869"/>
          </a:xfrm>
          <a:prstGeom prst="rect">
            <a:avLst/>
          </a:prstGeom>
        </p:spPr>
      </p:pic>
      <p:sp>
        <p:nvSpPr>
          <p:cNvPr id="41" name="Rectangle 17">
            <a:extLst>
              <a:ext uri="{FF2B5EF4-FFF2-40B4-BE49-F238E27FC236}">
                <a16:creationId xmlns:a16="http://schemas.microsoft.com/office/drawing/2014/main" id="{D4EAFD18-07F2-6F69-6988-1623C896BFC6}"/>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42" name="Title 2">
            <a:extLst>
              <a:ext uri="{FF2B5EF4-FFF2-40B4-BE49-F238E27FC236}">
                <a16:creationId xmlns:a16="http://schemas.microsoft.com/office/drawing/2014/main" id="{F4366182-F67D-19A7-E5BD-1710DE5A94F9}"/>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Incentives Offered to Qatari and Non-Qatari Investors in the Industrial sector</a:t>
            </a:r>
          </a:p>
        </p:txBody>
      </p:sp>
      <p:cxnSp>
        <p:nvCxnSpPr>
          <p:cNvPr id="43" name="Straight Connector 42">
            <a:extLst>
              <a:ext uri="{FF2B5EF4-FFF2-40B4-BE49-F238E27FC236}">
                <a16:creationId xmlns:a16="http://schemas.microsoft.com/office/drawing/2014/main" id="{C28EEC78-3B20-FF49-E9AE-2984F4B23413}"/>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A9FB07E-7BAC-8096-8054-A0E075AA49D2}"/>
              </a:ext>
            </a:extLst>
          </p:cNvPr>
          <p:cNvSpPr txBox="1"/>
          <p:nvPr/>
        </p:nvSpPr>
        <p:spPr>
          <a:xfrm>
            <a:off x="4640153" y="2071888"/>
            <a:ext cx="2398935" cy="2708434"/>
          </a:xfrm>
          <a:prstGeom prst="rect">
            <a:avLst/>
          </a:prstGeom>
          <a:noFill/>
        </p:spPr>
        <p:txBody>
          <a:bodyPr wrap="square" rtlCol="0">
            <a:spAutoFit/>
          </a:bodyPr>
          <a:lstStyle/>
          <a:p>
            <a:pPr marL="274293" indent="-226036" algn="r" defTabSz="914309" rtl="1">
              <a:buClr>
                <a:srgbClr val="8E1838"/>
              </a:buClr>
              <a:buSzPts val="1400"/>
              <a:buFont typeface="Arial"/>
              <a:buChar char="◥"/>
              <a:defRPr/>
            </a:pPr>
            <a:endParaRPr lang="en-US" sz="1200" kern="0" dirty="0">
              <a:solidFill>
                <a:schemeClr val="accent1"/>
              </a:solidFill>
              <a:latin typeface="Arial" panose="020B0604020202020204" pitchFamily="34" charset="0"/>
              <a:cs typeface="Arial" panose="020B0604020202020204" pitchFamily="34" charset="0"/>
              <a:sym typeface="Arial"/>
            </a:endParaRPr>
          </a:p>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100% Ownership for Foreign Investors in the Industrial Sector </a:t>
            </a:r>
          </a:p>
          <a:p>
            <a:pPr marL="274293" indent="-226036" algn="l" defTabSz="914309">
              <a:buClr>
                <a:srgbClr val="7F6000"/>
              </a:buClr>
              <a:buSzPts val="1400"/>
              <a:buFont typeface="Arial"/>
              <a:buChar char="◥"/>
              <a:defRPr/>
            </a:pPr>
            <a:endParaRPr lang="en-US" sz="1200" kern="0" dirty="0">
              <a:solidFill>
                <a:srgbClr val="817A6C"/>
              </a:solidFill>
              <a:latin typeface="Arial" panose="020B0604020202020204" pitchFamily="34" charset="0"/>
              <a:cs typeface="Arial" panose="020B0604020202020204" pitchFamily="34" charset="0"/>
              <a:sym typeface="Arial"/>
            </a:endParaRPr>
          </a:p>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10% Price Preference in Public Tenders for Local Products</a:t>
            </a:r>
          </a:p>
          <a:p>
            <a:pPr marL="274293" indent="-226036" algn="l" defTabSz="914309">
              <a:buClr>
                <a:srgbClr val="7F6000"/>
              </a:buClr>
              <a:buSzPts val="1400"/>
              <a:buFont typeface="Arial"/>
              <a:buChar char="◥"/>
              <a:defRPr/>
            </a:pPr>
            <a:endParaRPr lang="en-US" sz="1200" kern="0" dirty="0">
              <a:solidFill>
                <a:srgbClr val="817A6C"/>
              </a:solidFill>
              <a:latin typeface="Arial" panose="020B0604020202020204" pitchFamily="34" charset="0"/>
              <a:cs typeface="Arial" panose="020B0604020202020204" pitchFamily="34" charset="0"/>
              <a:sym typeface="Arial"/>
            </a:endParaRPr>
          </a:p>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Freedom for Non-Qatari Investors to Make All Investment Transfers Inside and Outside the Country</a:t>
            </a:r>
          </a:p>
          <a:p>
            <a:pPr marL="48257" algn="r" defTabSz="914309" rtl="1">
              <a:buClr>
                <a:srgbClr val="8E1838"/>
              </a:buClr>
              <a:buSzPts val="1400"/>
              <a:defRPr/>
            </a:pPr>
            <a:endParaRPr lang="ar-QA" sz="1400" kern="0" dirty="0">
              <a:solidFill>
                <a:srgbClr val="000000"/>
              </a:solidFill>
              <a:latin typeface="Sakkal Majalla" panose="02000000000000000000" pitchFamily="2" charset="-78"/>
              <a:cs typeface="Sakkal Majalla" panose="02000000000000000000" pitchFamily="2" charset="-78"/>
              <a:sym typeface="Arial"/>
            </a:endParaRPr>
          </a:p>
        </p:txBody>
      </p:sp>
      <p:sp>
        <p:nvSpPr>
          <p:cNvPr id="45" name="TextBox 44">
            <a:extLst>
              <a:ext uri="{FF2B5EF4-FFF2-40B4-BE49-F238E27FC236}">
                <a16:creationId xmlns:a16="http://schemas.microsoft.com/office/drawing/2014/main" id="{BE019A5C-828A-6A93-5AD4-E905CC15EEFA}"/>
              </a:ext>
            </a:extLst>
          </p:cNvPr>
          <p:cNvSpPr txBox="1"/>
          <p:nvPr/>
        </p:nvSpPr>
        <p:spPr>
          <a:xfrm>
            <a:off x="4698639" y="4787589"/>
            <a:ext cx="2398935" cy="1785104"/>
          </a:xfrm>
          <a:prstGeom prst="rect">
            <a:avLst/>
          </a:prstGeom>
          <a:noFill/>
        </p:spPr>
        <p:txBody>
          <a:bodyPr wrap="square" rtlCol="0">
            <a:spAutoFit/>
          </a:bodyPr>
          <a:lstStyle/>
          <a:p>
            <a:pPr marL="274293" indent="-226036" algn="l" defTabSz="914309">
              <a:buClr>
                <a:srgbClr val="8E1838"/>
              </a:buClr>
              <a:buSzPts val="1400"/>
              <a:buFont typeface="Arial"/>
              <a:buChar char="◥"/>
              <a:defRPr/>
            </a:pPr>
            <a:endParaRPr lang="en-US" sz="1200" kern="0" dirty="0">
              <a:solidFill>
                <a:schemeClr val="accent1"/>
              </a:solidFill>
              <a:latin typeface="Arial" panose="020B0604020202020204" pitchFamily="34" charset="0"/>
              <a:cs typeface="Arial" panose="020B0604020202020204" pitchFamily="34" charset="0"/>
              <a:sym typeface="Arial"/>
            </a:endParaRPr>
          </a:p>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Exemption from Customs Duties on Project Imports of Raw Materials and Machinery</a:t>
            </a:r>
          </a:p>
          <a:p>
            <a:pPr marL="274293" indent="-226036" algn="l" defTabSz="914309">
              <a:buClr>
                <a:srgbClr val="7F6000"/>
              </a:buClr>
              <a:buSzPts val="1400"/>
              <a:buFont typeface="Arial"/>
              <a:buChar char="◥"/>
              <a:defRPr/>
            </a:pPr>
            <a:endParaRPr lang="en-US" sz="1200" kern="0" dirty="0">
              <a:solidFill>
                <a:srgbClr val="817A6C"/>
              </a:solidFill>
              <a:latin typeface="Arial" panose="020B0604020202020204" pitchFamily="34" charset="0"/>
              <a:cs typeface="Arial" panose="020B0604020202020204" pitchFamily="34" charset="0"/>
              <a:sym typeface="Arial"/>
            </a:endParaRPr>
          </a:p>
          <a:p>
            <a:pPr marL="274293" indent="-226036" algn="l" defTabSz="914309">
              <a:buClr>
                <a:srgbClr val="7F6000"/>
              </a:buClr>
              <a:buSzPts val="1400"/>
              <a:buFont typeface="Arial"/>
              <a:buChar char="◥"/>
              <a:defRPr/>
            </a:pPr>
            <a:r>
              <a:rPr lang="en-US" sz="1200" kern="0" dirty="0">
                <a:solidFill>
                  <a:srgbClr val="817A6C"/>
                </a:solidFill>
                <a:latin typeface="Arial" panose="020B0604020202020204" pitchFamily="34" charset="0"/>
                <a:cs typeface="Arial" panose="020B0604020202020204" pitchFamily="34" charset="0"/>
                <a:sym typeface="Arial"/>
              </a:rPr>
              <a:t>Exemption from Income Taxes</a:t>
            </a:r>
          </a:p>
          <a:p>
            <a:pPr marL="48257" algn="r" defTabSz="914309" rtl="1">
              <a:buClr>
                <a:srgbClr val="8E1838"/>
              </a:buClr>
              <a:buSzPts val="1400"/>
              <a:defRPr/>
            </a:pPr>
            <a:endParaRPr lang="ar-QA" sz="1400" kern="0" dirty="0">
              <a:solidFill>
                <a:srgbClr val="000000"/>
              </a:solidFill>
              <a:latin typeface="Sakkal Majalla" panose="02000000000000000000" pitchFamily="2" charset="-78"/>
              <a:cs typeface="Sakkal Majalla" panose="02000000000000000000" pitchFamily="2" charset="-78"/>
              <a:sym typeface="Arial"/>
            </a:endParaRPr>
          </a:p>
        </p:txBody>
      </p:sp>
      <p:sp>
        <p:nvSpPr>
          <p:cNvPr id="49" name="Google Shape;656;p50">
            <a:extLst>
              <a:ext uri="{FF2B5EF4-FFF2-40B4-BE49-F238E27FC236}">
                <a16:creationId xmlns:a16="http://schemas.microsoft.com/office/drawing/2014/main" id="{BABCF153-6F1F-0C22-CB20-B1C7C05551F5}"/>
              </a:ext>
            </a:extLst>
          </p:cNvPr>
          <p:cNvSpPr/>
          <p:nvPr/>
        </p:nvSpPr>
        <p:spPr>
          <a:xfrm>
            <a:off x="683951" y="6309275"/>
            <a:ext cx="2603961" cy="86689"/>
          </a:xfrm>
          <a:prstGeom prst="rect">
            <a:avLst/>
          </a:prstGeom>
          <a:solidFill>
            <a:srgbClr val="7F6000"/>
          </a:solidFill>
          <a:ln>
            <a:noFill/>
          </a:ln>
        </p:spPr>
        <p:txBody>
          <a:bodyPr spcFirstLastPara="1" wrap="square" lIns="91413" tIns="91413" rIns="91413" bIns="91413" anchor="ctr" anchorCtr="0">
            <a:noAutofit/>
          </a:bodyPr>
          <a:lstStyle/>
          <a:p>
            <a:pPr defTabSz="914309">
              <a:buClr>
                <a:srgbClr val="000000"/>
              </a:buClr>
            </a:pPr>
            <a:endParaRPr sz="1600" kern="0">
              <a:solidFill>
                <a:srgbClr val="000000"/>
              </a:solidFill>
              <a:latin typeface="Sakkal Majalla" panose="02000000000000000000" pitchFamily="2" charset="-78"/>
              <a:cs typeface="Sakkal Majalla" panose="02000000000000000000" pitchFamily="2" charset="-78"/>
              <a:sym typeface="Arial"/>
            </a:endParaRPr>
          </a:p>
        </p:txBody>
      </p:sp>
      <p:cxnSp>
        <p:nvCxnSpPr>
          <p:cNvPr id="50" name="Straight Connector 49">
            <a:extLst>
              <a:ext uri="{FF2B5EF4-FFF2-40B4-BE49-F238E27FC236}">
                <a16:creationId xmlns:a16="http://schemas.microsoft.com/office/drawing/2014/main" id="{708CCCA7-41EF-3D49-33F1-1EC6B462751B}"/>
              </a:ext>
            </a:extLst>
          </p:cNvPr>
          <p:cNvCxnSpPr>
            <a:cxnSpLocks/>
            <a:endCxn id="49" idx="1"/>
          </p:cNvCxnSpPr>
          <p:nvPr/>
        </p:nvCxnSpPr>
        <p:spPr>
          <a:xfrm>
            <a:off x="683950" y="1673306"/>
            <a:ext cx="1" cy="4679314"/>
          </a:xfrm>
          <a:prstGeom prst="line">
            <a:avLst/>
          </a:prstGeom>
        </p:spPr>
        <p:style>
          <a:lnRef idx="2">
            <a:schemeClr val="dk1"/>
          </a:lnRef>
          <a:fillRef idx="0">
            <a:schemeClr val="dk1"/>
          </a:fillRef>
          <a:effectRef idx="1">
            <a:schemeClr val="dk1"/>
          </a:effectRef>
          <a:fontRef idx="minor">
            <a:schemeClr val="tx1"/>
          </a:fontRef>
        </p:style>
      </p:cxnSp>
      <p:cxnSp>
        <p:nvCxnSpPr>
          <p:cNvPr id="51" name="Straight Connector 50">
            <a:extLst>
              <a:ext uri="{FF2B5EF4-FFF2-40B4-BE49-F238E27FC236}">
                <a16:creationId xmlns:a16="http://schemas.microsoft.com/office/drawing/2014/main" id="{8831C17B-D6D0-1D3B-6D48-84EC4BC87D09}"/>
              </a:ext>
            </a:extLst>
          </p:cNvPr>
          <p:cNvCxnSpPr>
            <a:cxnSpLocks/>
            <a:endCxn id="49" idx="3"/>
          </p:cNvCxnSpPr>
          <p:nvPr/>
        </p:nvCxnSpPr>
        <p:spPr>
          <a:xfrm>
            <a:off x="3287912" y="1673306"/>
            <a:ext cx="0" cy="4679314"/>
          </a:xfrm>
          <a:prstGeom prst="line">
            <a:avLst/>
          </a:prstGeom>
        </p:spPr>
        <p:style>
          <a:lnRef idx="2">
            <a:schemeClr val="dk1"/>
          </a:lnRef>
          <a:fillRef idx="0">
            <a:schemeClr val="dk1"/>
          </a:fillRef>
          <a:effectRef idx="1">
            <a:schemeClr val="dk1"/>
          </a:effectRef>
          <a:fontRef idx="minor">
            <a:schemeClr val="tx1"/>
          </a:fontRef>
        </p:style>
      </p:cxnSp>
      <p:sp>
        <p:nvSpPr>
          <p:cNvPr id="52" name="Google Shape;656;p50">
            <a:extLst>
              <a:ext uri="{FF2B5EF4-FFF2-40B4-BE49-F238E27FC236}">
                <a16:creationId xmlns:a16="http://schemas.microsoft.com/office/drawing/2014/main" id="{70072D07-A721-FE08-C10B-23134E8CA59A}"/>
              </a:ext>
            </a:extLst>
          </p:cNvPr>
          <p:cNvSpPr/>
          <p:nvPr/>
        </p:nvSpPr>
        <p:spPr>
          <a:xfrm>
            <a:off x="8782515" y="6354213"/>
            <a:ext cx="2603961" cy="86689"/>
          </a:xfrm>
          <a:prstGeom prst="rect">
            <a:avLst/>
          </a:prstGeom>
          <a:solidFill>
            <a:srgbClr val="7F6000"/>
          </a:solidFill>
          <a:ln>
            <a:noFill/>
          </a:ln>
        </p:spPr>
        <p:txBody>
          <a:bodyPr spcFirstLastPara="1" wrap="square" lIns="91413" tIns="91413" rIns="91413" bIns="91413" anchor="ctr" anchorCtr="0">
            <a:noAutofit/>
          </a:bodyPr>
          <a:lstStyle/>
          <a:p>
            <a:pPr defTabSz="914309">
              <a:buClr>
                <a:srgbClr val="000000"/>
              </a:buClr>
            </a:pPr>
            <a:endParaRPr sz="1600" kern="0">
              <a:solidFill>
                <a:srgbClr val="000000"/>
              </a:solidFill>
              <a:latin typeface="Sakkal Majalla" panose="02000000000000000000" pitchFamily="2" charset="-78"/>
              <a:cs typeface="Sakkal Majalla" panose="02000000000000000000" pitchFamily="2" charset="-78"/>
              <a:sym typeface="Arial"/>
            </a:endParaRPr>
          </a:p>
        </p:txBody>
      </p:sp>
      <p:cxnSp>
        <p:nvCxnSpPr>
          <p:cNvPr id="53" name="Straight Connector 52">
            <a:extLst>
              <a:ext uri="{FF2B5EF4-FFF2-40B4-BE49-F238E27FC236}">
                <a16:creationId xmlns:a16="http://schemas.microsoft.com/office/drawing/2014/main" id="{253FE364-C15B-52A3-F5A5-679441AD510E}"/>
              </a:ext>
            </a:extLst>
          </p:cNvPr>
          <p:cNvCxnSpPr>
            <a:cxnSpLocks/>
          </p:cNvCxnSpPr>
          <p:nvPr/>
        </p:nvCxnSpPr>
        <p:spPr>
          <a:xfrm>
            <a:off x="8782514" y="1738564"/>
            <a:ext cx="1" cy="4679314"/>
          </a:xfrm>
          <a:prstGeom prst="line">
            <a:avLst/>
          </a:prstGeom>
        </p:spPr>
        <p:style>
          <a:lnRef idx="2">
            <a:schemeClr val="dk1"/>
          </a:lnRef>
          <a:fillRef idx="0">
            <a:schemeClr val="dk1"/>
          </a:fillRef>
          <a:effectRef idx="1">
            <a:schemeClr val="dk1"/>
          </a:effectRef>
          <a:fontRef idx="minor">
            <a:schemeClr val="tx1"/>
          </a:fontRef>
        </p:style>
      </p:cxnSp>
      <p:cxnSp>
        <p:nvCxnSpPr>
          <p:cNvPr id="54" name="Straight Connector 53">
            <a:extLst>
              <a:ext uri="{FF2B5EF4-FFF2-40B4-BE49-F238E27FC236}">
                <a16:creationId xmlns:a16="http://schemas.microsoft.com/office/drawing/2014/main" id="{B2163DC0-9AE7-6FDE-BFE7-891357D4A5E8}"/>
              </a:ext>
            </a:extLst>
          </p:cNvPr>
          <p:cNvCxnSpPr>
            <a:cxnSpLocks/>
            <a:endCxn id="52" idx="3"/>
          </p:cNvCxnSpPr>
          <p:nvPr/>
        </p:nvCxnSpPr>
        <p:spPr>
          <a:xfrm>
            <a:off x="11386475" y="1744366"/>
            <a:ext cx="1" cy="4653192"/>
          </a:xfrm>
          <a:prstGeom prst="line">
            <a:avLst/>
          </a:prstGeom>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191808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DVANCED SCIENCES…">
            <a:extLst>
              <a:ext uri="{FF2B5EF4-FFF2-40B4-BE49-F238E27FC236}">
                <a16:creationId xmlns:a16="http://schemas.microsoft.com/office/drawing/2014/main" id="{A34E2138-53EF-2E0C-0ED8-3409524BFF47}"/>
              </a:ext>
            </a:extLst>
          </p:cNvPr>
          <p:cNvSpPr/>
          <p:nvPr/>
        </p:nvSpPr>
        <p:spPr>
          <a:xfrm flipH="1">
            <a:off x="2944890" y="2663728"/>
            <a:ext cx="6452344" cy="1169547"/>
          </a:xfrm>
          <a:prstGeom prst="rect">
            <a:avLst/>
          </a:prstGeom>
          <a:ln w="12700">
            <a:miter lim="400000"/>
          </a:ln>
          <a:extLst>
            <a:ext uri="{C572A759-6A51-4108-AA02-DFA0A04FC94B}">
              <ma14:wrappingTextBoxFlag xmlns="" xmlns:ma14="http://schemas.microsoft.com/office/mac/drawingml/2011/main" val="1"/>
            </a:ext>
          </a:extLst>
        </p:spPr>
        <p:txBody>
          <a:bodyPr wrap="square" lIns="91438" tIns="91438" rIns="91438" bIns="91438" anchor="t">
            <a:spAutoFit/>
          </a:bodyPr>
          <a:lstStyle/>
          <a:p>
            <a:pPr marL="0" marR="0" lvl="0" indent="0" algn="ctr" defTabSz="914400" rtl="1" eaLnBrk="1" fontAlgn="auto" latinLnBrk="0" hangingPunct="1">
              <a:lnSpc>
                <a:spcPct val="100000"/>
              </a:lnSpc>
              <a:spcBef>
                <a:spcPct val="0"/>
              </a:spcBef>
              <a:spcAft>
                <a:spcPts val="0"/>
              </a:spcAft>
              <a:buClrTx/>
              <a:buSzTx/>
              <a:buFontTx/>
              <a:buNone/>
              <a:tabLst/>
              <a:defRPr/>
            </a:pPr>
            <a:r>
              <a:rPr lang="en-US" sz="3200" b="1" dirty="0">
                <a:ln w="6350" cap="flat">
                  <a:noFill/>
                  <a:miter lim="800000"/>
                </a:ln>
                <a:solidFill>
                  <a:srgbClr val="7F6000"/>
                </a:solidFill>
                <a:latin typeface="Arial" panose="020B0604020202020204" pitchFamily="34" charset="0"/>
                <a:cs typeface="Arial" panose="020B0604020202020204" pitchFamily="34" charset="0"/>
                <a:sym typeface="Sakkal Majalla" panose="02000000000000000000" pitchFamily="2" charset="-78"/>
              </a:rPr>
              <a:t>The Key Imports of the State of Qatar</a:t>
            </a:r>
          </a:p>
        </p:txBody>
      </p:sp>
      <p:cxnSp>
        <p:nvCxnSpPr>
          <p:cNvPr id="3" name="Straight Connector 2">
            <a:extLst>
              <a:ext uri="{FF2B5EF4-FFF2-40B4-BE49-F238E27FC236}">
                <a16:creationId xmlns:a16="http://schemas.microsoft.com/office/drawing/2014/main" id="{65A1E63A-0CC4-C5E0-249F-B9CA47648E2E}"/>
              </a:ext>
            </a:extLst>
          </p:cNvPr>
          <p:cNvCxnSpPr/>
          <p:nvPr/>
        </p:nvCxnSpPr>
        <p:spPr>
          <a:xfrm>
            <a:off x="2944890" y="3767552"/>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7208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00C9C7-D2C1-828C-AA37-7F928AA8B79C}"/>
            </a:ext>
          </a:extLst>
        </p:cNvPr>
        <p:cNvGrpSpPr/>
        <p:nvPr/>
      </p:nvGrpSpPr>
      <p:grpSpPr>
        <a:xfrm>
          <a:off x="0" y="0"/>
          <a:ext cx="0" cy="0"/>
          <a:chOff x="0" y="0"/>
          <a:chExt cx="0" cy="0"/>
        </a:xfrm>
      </p:grpSpPr>
      <p:pic>
        <p:nvPicPr>
          <p:cNvPr id="8" name="Picture Placeholder 5" descr="A picture containing sky, outdoor, harbor&#10;&#10;Description automatically generated">
            <a:extLst>
              <a:ext uri="{FF2B5EF4-FFF2-40B4-BE49-F238E27FC236}">
                <a16:creationId xmlns:a16="http://schemas.microsoft.com/office/drawing/2014/main" id="{7806775E-C780-12C0-4C33-66E8CCBA2ED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111999" y="0"/>
            <a:ext cx="5080001" cy="6858000"/>
          </a:xfrm>
          <a:prstGeom prst="rect">
            <a:avLst/>
          </a:prstGeom>
        </p:spPr>
      </p:pic>
      <p:sp>
        <p:nvSpPr>
          <p:cNvPr id="10" name="Rectangle 17">
            <a:extLst>
              <a:ext uri="{FF2B5EF4-FFF2-40B4-BE49-F238E27FC236}">
                <a16:creationId xmlns:a16="http://schemas.microsoft.com/office/drawing/2014/main" id="{C15742D4-F55F-AF5D-A566-943FDA34158D}"/>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11" name="Title 2">
            <a:extLst>
              <a:ext uri="{FF2B5EF4-FFF2-40B4-BE49-F238E27FC236}">
                <a16:creationId xmlns:a16="http://schemas.microsoft.com/office/drawing/2014/main" id="{A6716063-FBC2-B5DC-ED84-6518BF72DFC1}"/>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b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b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Partnership Information</a:t>
            </a:r>
          </a:p>
        </p:txBody>
      </p:sp>
      <p:cxnSp>
        <p:nvCxnSpPr>
          <p:cNvPr id="12" name="Straight Connector 11">
            <a:extLst>
              <a:ext uri="{FF2B5EF4-FFF2-40B4-BE49-F238E27FC236}">
                <a16:creationId xmlns:a16="http://schemas.microsoft.com/office/drawing/2014/main" id="{A6118837-8960-D51D-D241-36F10D27B9B7}"/>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13" name="Rectangle 17">
            <a:extLst>
              <a:ext uri="{FF2B5EF4-FFF2-40B4-BE49-F238E27FC236}">
                <a16:creationId xmlns:a16="http://schemas.microsoft.com/office/drawing/2014/main" id="{004F1E39-8872-C439-D63F-8821673C0B44}"/>
              </a:ext>
            </a:extLst>
          </p:cNvPr>
          <p:cNvSpPr/>
          <p:nvPr/>
        </p:nvSpPr>
        <p:spPr>
          <a:xfrm rot="10800000">
            <a:off x="-6824" y="3789261"/>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14" name="Title 2">
            <a:extLst>
              <a:ext uri="{FF2B5EF4-FFF2-40B4-BE49-F238E27FC236}">
                <a16:creationId xmlns:a16="http://schemas.microsoft.com/office/drawing/2014/main" id="{3BECF70C-88D4-E9F7-B4A0-B44D5CA118CD}"/>
              </a:ext>
            </a:extLst>
          </p:cNvPr>
          <p:cNvSpPr txBox="1">
            <a:spLocks/>
          </p:cNvSpPr>
          <p:nvPr/>
        </p:nvSpPr>
        <p:spPr>
          <a:xfrm flipH="1">
            <a:off x="256923" y="387686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Study of Integration Opportunities</a:t>
            </a:r>
          </a:p>
        </p:txBody>
      </p:sp>
      <p:cxnSp>
        <p:nvCxnSpPr>
          <p:cNvPr id="15" name="Straight Connector 14">
            <a:extLst>
              <a:ext uri="{FF2B5EF4-FFF2-40B4-BE49-F238E27FC236}">
                <a16:creationId xmlns:a16="http://schemas.microsoft.com/office/drawing/2014/main" id="{7C656375-9C46-29D5-EF3E-50F6B2EC69DB}"/>
              </a:ext>
            </a:extLst>
          </p:cNvPr>
          <p:cNvCxnSpPr/>
          <p:nvPr/>
        </p:nvCxnSpPr>
        <p:spPr>
          <a:xfrm>
            <a:off x="174526" y="432916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1">
            <a:extLst>
              <a:ext uri="{FF2B5EF4-FFF2-40B4-BE49-F238E27FC236}">
                <a16:creationId xmlns:a16="http://schemas.microsoft.com/office/drawing/2014/main" id="{C66036BA-15D7-AB53-FDF8-C85F0365D8E1}"/>
              </a:ext>
            </a:extLst>
          </p:cNvPr>
          <p:cNvSpPr txBox="1">
            <a:spLocks/>
          </p:cNvSpPr>
          <p:nvPr/>
        </p:nvSpPr>
        <p:spPr>
          <a:xfrm>
            <a:off x="317883" y="661400"/>
            <a:ext cx="6312544" cy="6861421"/>
          </a:xfrm>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ITC Avant Garde Std Bk" panose="020B0502020202020204" pitchFamily="34" charset="0"/>
                <a:ea typeface="+mn-ea"/>
                <a:cs typeface="+mn-cs"/>
                <a:sym typeface="ITC Avant Garde Std Bk" panose="020B0502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ITC Avant Garde Std Bk" panose="020B0502020202020204" pitchFamily="34" charset="0"/>
                <a:ea typeface="+mn-ea"/>
                <a:cs typeface="+mn-cs"/>
                <a:sym typeface="ITC Avant Garde Std Bk" panose="020B0502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ITC Avant Garde Std Bk" panose="020B0502020202020204" pitchFamily="34" charset="0"/>
                <a:ea typeface="+mn-ea"/>
                <a:cs typeface="+mn-cs"/>
                <a:sym typeface="ITC Avant Garde Std Bk" panose="020B0502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ITC Avant Garde Std Bk" panose="020B0502020202020204" pitchFamily="34" charset="0"/>
                <a:ea typeface="+mn-ea"/>
                <a:cs typeface="+mn-cs"/>
                <a:sym typeface="ITC Avant Garde Std Bk" panose="020B0502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ITC Avant Garde Std Bk" panose="020B0502020202020204" pitchFamily="34" charset="0"/>
                <a:ea typeface="+mn-ea"/>
                <a:cs typeface="+mn-cs"/>
                <a:sym typeface="ITC Avant Garde Std Bk" panose="020B0502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r" rtl="1">
              <a:lnSpc>
                <a:spcPct val="150000"/>
              </a:lnSpc>
            </a:pPr>
            <a:endParaRPr lang="ar-QA" sz="2000" dirty="0">
              <a:solidFill>
                <a:srgbClr val="817A6C"/>
              </a:solidFill>
              <a:latin typeface="Arial" panose="020B0604020202020204" pitchFamily="34" charset="0"/>
              <a:ea typeface="Calibri"/>
              <a:cs typeface="Arial" panose="020B0604020202020204" pitchFamily="34" charset="0"/>
            </a:endParaRPr>
          </a:p>
          <a:p>
            <a:pPr marL="0" indent="0" rtl="1">
              <a:lnSpc>
                <a:spcPct val="150000"/>
              </a:lnSpc>
              <a:buNone/>
            </a:pPr>
            <a:r>
              <a:rPr lang="en-US" sz="1400" dirty="0">
                <a:solidFill>
                  <a:srgbClr val="817A6C"/>
                </a:solidFill>
                <a:latin typeface="Arial" panose="020B0604020202020204" pitchFamily="34" charset="0"/>
                <a:ea typeface="+mn-lt"/>
                <a:cs typeface="Arial" panose="020B0604020202020204" pitchFamily="34" charset="0"/>
              </a:rPr>
              <a:t>The Industrial Integration Partnership for Sustainable Economic Development comes within the framework of the fraternal relations between the countries (the United Arab Emirates, the Hashemite Kingdom of Jordan, the Arab Republic of Egypt, the Kingdom of Morocco, the Kingdom of Bahrain, and the Republic of Turkey). Its goal is to strengthen these relations by exploring partnership and investment opportunities, aiming to deepen coordination, cooperation, and strategic integration among them, in accordance with the prevailing laws in each of the participating countries, to serve the interests of their peoples.</a:t>
            </a:r>
          </a:p>
          <a:p>
            <a:pPr marL="0" indent="0" rtl="1">
              <a:buNone/>
            </a:pPr>
            <a:endParaRPr lang="en-US" sz="2000" dirty="0">
              <a:solidFill>
                <a:srgbClr val="817A6C"/>
              </a:solidFill>
              <a:latin typeface="Arial" panose="020B0604020202020204" pitchFamily="34" charset="0"/>
              <a:cs typeface="Arial" panose="020B0604020202020204" pitchFamily="34" charset="0"/>
            </a:endParaRPr>
          </a:p>
          <a:p>
            <a:pPr marL="0" indent="0" rtl="1">
              <a:buNone/>
            </a:pPr>
            <a:endParaRPr lang="en-US" sz="2000" dirty="0">
              <a:solidFill>
                <a:srgbClr val="817A6C"/>
              </a:solidFill>
              <a:latin typeface="Arial" panose="020B0604020202020204" pitchFamily="34" charset="0"/>
              <a:cs typeface="Arial" panose="020B0604020202020204" pitchFamily="34" charset="0"/>
            </a:endParaRPr>
          </a:p>
          <a:p>
            <a:pPr marL="0" indent="0">
              <a:buNone/>
            </a:pPr>
            <a:br>
              <a:rPr lang="en-US" sz="1400" dirty="0">
                <a:solidFill>
                  <a:srgbClr val="817A6C"/>
                </a:solidFill>
                <a:latin typeface="Arial" panose="020B0604020202020204" pitchFamily="34" charset="0"/>
                <a:cs typeface="Arial" panose="020B0604020202020204" pitchFamily="34" charset="0"/>
              </a:rPr>
            </a:br>
            <a:r>
              <a:rPr lang="en-US" sz="1400" dirty="0">
                <a:solidFill>
                  <a:srgbClr val="817A6C"/>
                </a:solidFill>
                <a:latin typeface="Arial" panose="020B0604020202020204" pitchFamily="34" charset="0"/>
                <a:cs typeface="Arial" panose="020B0604020202020204" pitchFamily="34" charset="0"/>
              </a:rPr>
              <a:t>A list of industrial imports has been extracted and categorized as follows:</a:t>
            </a:r>
          </a:p>
          <a:p>
            <a:pPr>
              <a:buFont typeface="Arial" panose="020B0604020202020204" pitchFamily="34" charset="0"/>
              <a:buChar char="•"/>
            </a:pPr>
            <a:r>
              <a:rPr lang="en-US" sz="1400" b="1" dirty="0">
                <a:solidFill>
                  <a:srgbClr val="817A6C"/>
                </a:solidFill>
                <a:latin typeface="Arial" panose="020B0604020202020204" pitchFamily="34" charset="0"/>
                <a:cs typeface="Arial" panose="020B0604020202020204" pitchFamily="34" charset="0"/>
              </a:rPr>
              <a:t>Most Imported Industrial Products</a:t>
            </a:r>
            <a:endParaRPr lang="en-US" sz="1400" dirty="0">
              <a:solidFill>
                <a:srgbClr val="817A6C"/>
              </a:solidFill>
              <a:latin typeface="Arial" panose="020B0604020202020204" pitchFamily="34" charset="0"/>
              <a:cs typeface="Arial" panose="020B0604020202020204" pitchFamily="34" charset="0"/>
            </a:endParaRPr>
          </a:p>
          <a:p>
            <a:pPr>
              <a:buFont typeface="Arial" panose="020B0604020202020204" pitchFamily="34" charset="0"/>
              <a:buChar char="•"/>
            </a:pPr>
            <a:r>
              <a:rPr lang="en-US" sz="1400" b="1" dirty="0">
                <a:solidFill>
                  <a:srgbClr val="817A6C"/>
                </a:solidFill>
                <a:latin typeface="Arial" panose="020B0604020202020204" pitchFamily="34" charset="0"/>
                <a:cs typeface="Arial" panose="020B0604020202020204" pitchFamily="34" charset="0"/>
              </a:rPr>
              <a:t>Qatari Factories with the Highest Imports</a:t>
            </a:r>
            <a:endParaRPr lang="en-US" sz="1400" dirty="0">
              <a:solidFill>
                <a:srgbClr val="817A6C"/>
              </a:solidFill>
              <a:latin typeface="Arial" panose="020B0604020202020204" pitchFamily="34" charset="0"/>
              <a:cs typeface="Arial" panose="020B0604020202020204" pitchFamily="34" charset="0"/>
            </a:endParaRPr>
          </a:p>
          <a:p>
            <a:pPr>
              <a:buFont typeface="Arial" panose="020B0604020202020204" pitchFamily="34" charset="0"/>
              <a:buChar char="•"/>
            </a:pPr>
            <a:r>
              <a:rPr lang="en-US" sz="1400" b="1" dirty="0">
                <a:solidFill>
                  <a:srgbClr val="817A6C"/>
                </a:solidFill>
                <a:latin typeface="Arial" panose="020B0604020202020204" pitchFamily="34" charset="0"/>
                <a:cs typeface="Arial" panose="020B0604020202020204" pitchFamily="34" charset="0"/>
              </a:rPr>
              <a:t>Most Imported Products from the factories</a:t>
            </a:r>
            <a:endParaRPr lang="en-US" sz="1400" dirty="0">
              <a:solidFill>
                <a:srgbClr val="817A6C"/>
              </a:solidFill>
              <a:latin typeface="Arial" panose="020B0604020202020204" pitchFamily="34" charset="0"/>
              <a:cs typeface="Arial" panose="020B0604020202020204" pitchFamily="34" charset="0"/>
            </a:endParaRPr>
          </a:p>
          <a:p>
            <a:pPr marL="0" indent="0" rtl="1">
              <a:buNone/>
            </a:pPr>
            <a:endParaRPr lang="en-US" sz="2400" dirty="0">
              <a:solidFill>
                <a:srgbClr val="817A6C"/>
              </a:solidFill>
              <a:latin typeface="Arial" panose="020B0604020202020204" pitchFamily="34" charset="0"/>
              <a:ea typeface="Calibri"/>
              <a:cs typeface="Arial" panose="020B0604020202020204" pitchFamily="34" charset="0"/>
            </a:endParaRPr>
          </a:p>
          <a:p>
            <a:pPr marL="0" indent="0" rtl="1">
              <a:buNone/>
            </a:pPr>
            <a:r>
              <a:rPr lang="ar-QA" sz="1200" dirty="0">
                <a:solidFill>
                  <a:srgbClr val="817A6C"/>
                </a:solidFill>
                <a:latin typeface="Arial" panose="020B0604020202020204" pitchFamily="34" charset="0"/>
                <a:ea typeface="Calibri"/>
                <a:cs typeface="Arial" panose="020B0604020202020204" pitchFamily="34" charset="0"/>
              </a:rPr>
              <a:t>*</a:t>
            </a:r>
            <a:r>
              <a:rPr lang="en-US" sz="1200" dirty="0">
                <a:solidFill>
                  <a:srgbClr val="817A6C"/>
                </a:solidFill>
                <a:latin typeface="Arial" panose="020B0604020202020204" pitchFamily="34" charset="0"/>
                <a:ea typeface="Calibri"/>
                <a:cs typeface="Arial" panose="020B0604020202020204" pitchFamily="34" charset="0"/>
              </a:rPr>
              <a:t>We can further detail the study based on the requirements of the partnership members.</a:t>
            </a:r>
            <a:endParaRPr lang="ar-QA" sz="1200" dirty="0">
              <a:solidFill>
                <a:srgbClr val="817A6C"/>
              </a:solidFill>
              <a:latin typeface="Arial" panose="020B0604020202020204" pitchFamily="34" charset="0"/>
              <a:ea typeface="Calibri"/>
              <a:cs typeface="Arial" panose="020B0604020202020204" pitchFamily="34" charset="0"/>
            </a:endParaRPr>
          </a:p>
        </p:txBody>
      </p:sp>
    </p:spTree>
    <p:extLst>
      <p:ext uri="{BB962C8B-B14F-4D97-AF65-F5344CB8AC3E}">
        <p14:creationId xmlns:p14="http://schemas.microsoft.com/office/powerpoint/2010/main" val="970864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E67850-F1A4-89A3-990F-A2DD44C04342}"/>
            </a:ext>
          </a:extLst>
        </p:cNvPr>
        <p:cNvGrpSpPr/>
        <p:nvPr/>
      </p:nvGrpSpPr>
      <p:grpSpPr>
        <a:xfrm>
          <a:off x="0" y="0"/>
          <a:ext cx="0" cy="0"/>
          <a:chOff x="0" y="0"/>
          <a:chExt cx="0" cy="0"/>
        </a:xfrm>
      </p:grpSpPr>
      <p:sp>
        <p:nvSpPr>
          <p:cNvPr id="17" name="Rectangle 17">
            <a:extLst>
              <a:ext uri="{FF2B5EF4-FFF2-40B4-BE49-F238E27FC236}">
                <a16:creationId xmlns:a16="http://schemas.microsoft.com/office/drawing/2014/main" id="{ADEB1BB5-61B2-E91D-F95E-871795545686}"/>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18" name="Title 2">
            <a:extLst>
              <a:ext uri="{FF2B5EF4-FFF2-40B4-BE49-F238E27FC236}">
                <a16:creationId xmlns:a16="http://schemas.microsoft.com/office/drawing/2014/main" id="{01E21039-5A51-ED93-7F00-F4EBF472B8E6}"/>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Key Industrial Products Imported into the State of Qatar (2022-2024)</a:t>
            </a:r>
          </a:p>
        </p:txBody>
      </p:sp>
      <p:cxnSp>
        <p:nvCxnSpPr>
          <p:cNvPr id="19" name="Straight Connector 18">
            <a:extLst>
              <a:ext uri="{FF2B5EF4-FFF2-40B4-BE49-F238E27FC236}">
                <a16:creationId xmlns:a16="http://schemas.microsoft.com/office/drawing/2014/main" id="{B8847839-6F2B-16CB-E016-5BC34E660C65}"/>
              </a:ext>
            </a:extLst>
          </p:cNvPr>
          <p:cNvCxnSpPr>
            <a:cxnSpLocks/>
          </p:cNvCxnSpPr>
          <p:nvPr/>
        </p:nvCxnSpPr>
        <p:spPr>
          <a:xfrm>
            <a:off x="174526" y="661400"/>
            <a:ext cx="8400514"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F3DFB361-4DD5-F560-B99F-0B4D5FE00F69}"/>
              </a:ext>
            </a:extLst>
          </p:cNvPr>
          <p:cNvSpPr/>
          <p:nvPr/>
        </p:nvSpPr>
        <p:spPr>
          <a:xfrm>
            <a:off x="580331" y="2931595"/>
            <a:ext cx="2093999" cy="1888889"/>
          </a:xfrm>
          <a:prstGeom prst="ellipse">
            <a:avLst/>
          </a:prstGeom>
          <a:solidFill>
            <a:srgbClr val="7F6000"/>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2000" b="1" dirty="0">
              <a:solidFill>
                <a:schemeClr val="bg1"/>
              </a:solidFill>
              <a:latin typeface="Arial" panose="020B0604020202020204" pitchFamily="34" charset="0"/>
              <a:cs typeface="Arial" panose="020B0604020202020204" pitchFamily="34" charset="0"/>
            </a:endParaRPr>
          </a:p>
          <a:p>
            <a:pPr algn="ctr"/>
            <a:r>
              <a:rPr lang="en-US" sz="2000" b="1" dirty="0">
                <a:solidFill>
                  <a:schemeClr val="bg1"/>
                </a:solidFill>
                <a:latin typeface="Arial" panose="020B0604020202020204" pitchFamily="34" charset="0"/>
                <a:cs typeface="Arial" panose="020B0604020202020204" pitchFamily="34" charset="0"/>
              </a:rPr>
              <a:t>Metals</a:t>
            </a:r>
          </a:p>
          <a:p>
            <a:pPr algn="ctr"/>
            <a:r>
              <a:rPr lang="en-US" sz="2700" b="1" dirty="0">
                <a:solidFill>
                  <a:schemeClr val="bg1"/>
                </a:solidFill>
                <a:latin typeface="Arial" panose="020B0604020202020204" pitchFamily="34" charset="0"/>
                <a:cs typeface="Arial" panose="020B0604020202020204" pitchFamily="34" charset="0"/>
              </a:rPr>
              <a:t> </a:t>
            </a:r>
            <a:r>
              <a:rPr lang="en-US" sz="1600" b="1" dirty="0">
                <a:solidFill>
                  <a:schemeClr val="bg1"/>
                </a:solidFill>
                <a:latin typeface="Arial" panose="020B0604020202020204" pitchFamily="34" charset="0"/>
                <a:cs typeface="Arial" panose="020B0604020202020204" pitchFamily="34" charset="0"/>
              </a:rPr>
              <a:t> </a:t>
            </a:r>
          </a:p>
        </p:txBody>
      </p:sp>
      <p:sp>
        <p:nvSpPr>
          <p:cNvPr id="22" name="Oval 21">
            <a:extLst>
              <a:ext uri="{FF2B5EF4-FFF2-40B4-BE49-F238E27FC236}">
                <a16:creationId xmlns:a16="http://schemas.microsoft.com/office/drawing/2014/main" id="{2618C010-1BFE-0313-A7B0-D9AF85BB66D9}"/>
              </a:ext>
            </a:extLst>
          </p:cNvPr>
          <p:cNvSpPr/>
          <p:nvPr/>
        </p:nvSpPr>
        <p:spPr>
          <a:xfrm>
            <a:off x="2822029" y="2931595"/>
            <a:ext cx="2093999" cy="1888889"/>
          </a:xfrm>
          <a:prstGeom prst="ellipse">
            <a:avLst/>
          </a:prstGeom>
          <a:solidFill>
            <a:srgbClr val="7F6000"/>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2000" b="1" dirty="0">
              <a:solidFill>
                <a:schemeClr val="bg1"/>
              </a:solidFill>
              <a:latin typeface="Arial" panose="020B0604020202020204" pitchFamily="34" charset="0"/>
              <a:cs typeface="Arial" panose="020B0604020202020204" pitchFamily="34" charset="0"/>
            </a:endParaRPr>
          </a:p>
          <a:p>
            <a:pPr algn="ctr"/>
            <a:r>
              <a:rPr lang="en-US" sz="2000" b="1" dirty="0">
                <a:solidFill>
                  <a:schemeClr val="bg1"/>
                </a:solidFill>
                <a:latin typeface="Arial" panose="020B0604020202020204" pitchFamily="34" charset="0"/>
                <a:cs typeface="Arial" panose="020B0604020202020204" pitchFamily="34" charset="0"/>
              </a:rPr>
              <a:t>Mechanical appliances</a:t>
            </a:r>
            <a:r>
              <a:rPr lang="en-US" sz="3000" dirty="0">
                <a:solidFill>
                  <a:schemeClr val="bg1"/>
                </a:solidFill>
                <a:latin typeface="Arial" panose="020B0604020202020204" pitchFamily="34" charset="0"/>
                <a:cs typeface="Arial" panose="020B0604020202020204" pitchFamily="34" charset="0"/>
              </a:rPr>
              <a:t> </a:t>
            </a:r>
            <a:r>
              <a:rPr lang="en-US" sz="1600" b="1" dirty="0">
                <a:solidFill>
                  <a:schemeClr val="bg1"/>
                </a:solidFill>
                <a:latin typeface="Arial" panose="020B0604020202020204" pitchFamily="34" charset="0"/>
                <a:cs typeface="Arial" panose="020B0604020202020204" pitchFamily="34" charset="0"/>
              </a:rPr>
              <a:t>  </a:t>
            </a:r>
            <a:endParaRPr lang="en-US" sz="3000" dirty="0">
              <a:solidFill>
                <a:schemeClr val="bg1"/>
              </a:solidFill>
              <a:latin typeface="Arial" panose="020B0604020202020204" pitchFamily="34" charset="0"/>
              <a:cs typeface="Arial" panose="020B0604020202020204" pitchFamily="34" charset="0"/>
            </a:endParaRPr>
          </a:p>
        </p:txBody>
      </p:sp>
      <p:sp>
        <p:nvSpPr>
          <p:cNvPr id="23" name="Oval 22">
            <a:extLst>
              <a:ext uri="{FF2B5EF4-FFF2-40B4-BE49-F238E27FC236}">
                <a16:creationId xmlns:a16="http://schemas.microsoft.com/office/drawing/2014/main" id="{F4F95A70-BB13-771C-E74A-AAAB0E7EF3A4}"/>
              </a:ext>
            </a:extLst>
          </p:cNvPr>
          <p:cNvSpPr/>
          <p:nvPr/>
        </p:nvSpPr>
        <p:spPr>
          <a:xfrm>
            <a:off x="5063727" y="2931595"/>
            <a:ext cx="2093999" cy="1888889"/>
          </a:xfrm>
          <a:prstGeom prst="ellipse">
            <a:avLst/>
          </a:prstGeom>
          <a:solidFill>
            <a:srgbClr val="7F6000"/>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ar-QA" sz="2000" b="1" dirty="0">
              <a:solidFill>
                <a:schemeClr val="bg1"/>
              </a:solidFill>
              <a:latin typeface="Arial" panose="020B0604020202020204" pitchFamily="34" charset="0"/>
              <a:cs typeface="Arial" panose="020B0604020202020204" pitchFamily="34" charset="0"/>
            </a:endParaRPr>
          </a:p>
          <a:p>
            <a:pPr algn="ctr"/>
            <a:r>
              <a:rPr lang="en-US" sz="2000" b="1" dirty="0">
                <a:solidFill>
                  <a:schemeClr val="bg1"/>
                </a:solidFill>
                <a:latin typeface="Arial" panose="020B0604020202020204" pitchFamily="34" charset="0"/>
                <a:cs typeface="Arial" panose="020B0604020202020204" pitchFamily="34" charset="0"/>
              </a:rPr>
              <a:t>Chemicals and allied products</a:t>
            </a:r>
            <a:endParaRPr lang="ar-QA" sz="2000" b="1" dirty="0">
              <a:solidFill>
                <a:schemeClr val="bg1"/>
              </a:solidFill>
              <a:latin typeface="Arial" panose="020B0604020202020204" pitchFamily="34" charset="0"/>
              <a:cs typeface="Arial" panose="020B0604020202020204" pitchFamily="34" charset="0"/>
            </a:endParaRPr>
          </a:p>
          <a:p>
            <a:pPr algn="ctr"/>
            <a:r>
              <a:rPr lang="en-US" sz="2000" b="1" dirty="0">
                <a:solidFill>
                  <a:schemeClr val="bg1"/>
                </a:solidFill>
                <a:latin typeface="Arial" panose="020B0604020202020204" pitchFamily="34" charset="0"/>
                <a:cs typeface="Arial" panose="020B0604020202020204" pitchFamily="34" charset="0"/>
              </a:rPr>
              <a:t> </a:t>
            </a:r>
          </a:p>
        </p:txBody>
      </p:sp>
      <p:sp>
        <p:nvSpPr>
          <p:cNvPr id="24" name="Oval 23">
            <a:extLst>
              <a:ext uri="{FF2B5EF4-FFF2-40B4-BE49-F238E27FC236}">
                <a16:creationId xmlns:a16="http://schemas.microsoft.com/office/drawing/2014/main" id="{A018BFE3-C6DB-7074-9098-3E7D66622660}"/>
              </a:ext>
            </a:extLst>
          </p:cNvPr>
          <p:cNvSpPr/>
          <p:nvPr/>
        </p:nvSpPr>
        <p:spPr>
          <a:xfrm>
            <a:off x="7305425" y="2931593"/>
            <a:ext cx="2093999" cy="1888889"/>
          </a:xfrm>
          <a:prstGeom prst="ellipse">
            <a:avLst/>
          </a:prstGeom>
          <a:solidFill>
            <a:srgbClr val="7F6000"/>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2000" b="1" dirty="0">
              <a:solidFill>
                <a:schemeClr val="bg1"/>
              </a:solidFill>
              <a:latin typeface="Arial" panose="020B0604020202020204" pitchFamily="34" charset="0"/>
              <a:cs typeface="Arial" panose="020B0604020202020204" pitchFamily="34" charset="0"/>
            </a:endParaRPr>
          </a:p>
          <a:p>
            <a:pPr algn="ctr"/>
            <a:r>
              <a:rPr lang="en-US" sz="2000" b="1" dirty="0">
                <a:solidFill>
                  <a:schemeClr val="bg1"/>
                </a:solidFill>
                <a:latin typeface="Arial" panose="020B0604020202020204" pitchFamily="34" charset="0"/>
                <a:cs typeface="Arial" panose="020B0604020202020204" pitchFamily="34" charset="0"/>
              </a:rPr>
              <a:t>Mineral products</a:t>
            </a:r>
            <a:endParaRPr lang="ar-QA" sz="2000" b="1" dirty="0">
              <a:solidFill>
                <a:schemeClr val="bg1"/>
              </a:solidFill>
              <a:latin typeface="Arial" panose="020B0604020202020204" pitchFamily="34" charset="0"/>
              <a:cs typeface="Arial" panose="020B0604020202020204" pitchFamily="34" charset="0"/>
            </a:endParaRPr>
          </a:p>
        </p:txBody>
      </p:sp>
      <p:sp>
        <p:nvSpPr>
          <p:cNvPr id="25" name="Oval 24">
            <a:extLst>
              <a:ext uri="{FF2B5EF4-FFF2-40B4-BE49-F238E27FC236}">
                <a16:creationId xmlns:a16="http://schemas.microsoft.com/office/drawing/2014/main" id="{83FCA751-499F-4D76-CC93-E64BF88ED4FF}"/>
              </a:ext>
            </a:extLst>
          </p:cNvPr>
          <p:cNvSpPr/>
          <p:nvPr/>
        </p:nvSpPr>
        <p:spPr>
          <a:xfrm>
            <a:off x="9547123" y="2931593"/>
            <a:ext cx="2093999" cy="1888889"/>
          </a:xfrm>
          <a:prstGeom prst="ellipse">
            <a:avLst/>
          </a:prstGeom>
          <a:solidFill>
            <a:srgbClr val="7F6000"/>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2000" b="1" dirty="0">
                <a:solidFill>
                  <a:schemeClr val="bg1"/>
                </a:solidFill>
                <a:latin typeface="Arial" panose="020B0604020202020204" pitchFamily="34" charset="0"/>
                <a:cs typeface="Arial" panose="020B0604020202020204" pitchFamily="34" charset="0"/>
              </a:rPr>
              <a:t>Plastic articles</a:t>
            </a:r>
            <a:endParaRPr lang="ar-QA" sz="2000" b="1" dirty="0">
              <a:solidFill>
                <a:schemeClr val="bg1"/>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52C8CFE8-85C8-6078-6B88-BD771F0018FF}"/>
              </a:ext>
            </a:extLst>
          </p:cNvPr>
          <p:cNvSpPr txBox="1"/>
          <p:nvPr/>
        </p:nvSpPr>
        <p:spPr>
          <a:xfrm>
            <a:off x="580331" y="2233471"/>
            <a:ext cx="9901602" cy="430887"/>
          </a:xfrm>
          <a:prstGeom prst="rect">
            <a:avLst/>
          </a:prstGeom>
          <a:noFill/>
        </p:spPr>
        <p:txBody>
          <a:bodyPr wrap="square" rtlCol="0">
            <a:spAutoFit/>
          </a:bodyPr>
          <a:lstStyle/>
          <a:p>
            <a:r>
              <a:rPr lang="en-US" sz="2200" b="1" dirty="0">
                <a:solidFill>
                  <a:srgbClr val="817A6C"/>
                </a:solidFill>
                <a:latin typeface="Arial" panose="020B0604020202020204" pitchFamily="34" charset="0"/>
                <a:cs typeface="Arial" panose="020B0604020202020204" pitchFamily="34" charset="0"/>
              </a:rPr>
              <a:t>The Key Industrial Imports Consist of 5 Main Categories:</a:t>
            </a:r>
            <a:endParaRPr lang="en-US" sz="2200" dirty="0">
              <a:solidFill>
                <a:srgbClr val="817A6C"/>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DA252186-5CF8-F552-2AE8-E4467EB8DB6F}"/>
              </a:ext>
            </a:extLst>
          </p:cNvPr>
          <p:cNvSpPr txBox="1"/>
          <p:nvPr/>
        </p:nvSpPr>
        <p:spPr>
          <a:xfrm>
            <a:off x="776436" y="5061887"/>
            <a:ext cx="1701787" cy="615553"/>
          </a:xfrm>
          <a:prstGeom prst="rect">
            <a:avLst/>
          </a:prstGeom>
          <a:noFill/>
        </p:spPr>
        <p:txBody>
          <a:bodyPr wrap="square" rtlCol="0">
            <a:spAutoFit/>
          </a:bodyPr>
          <a:lstStyle/>
          <a:p>
            <a:pPr algn="ctr"/>
            <a:r>
              <a:rPr lang="en-US" sz="1700" b="1" dirty="0">
                <a:solidFill>
                  <a:srgbClr val="817A6C"/>
                </a:solidFill>
                <a:latin typeface="Arial" panose="020B0604020202020204" pitchFamily="34" charset="0"/>
                <a:cs typeface="Arial" panose="020B0604020202020204" pitchFamily="34" charset="0"/>
              </a:rPr>
              <a:t>10,684,537,325</a:t>
            </a:r>
          </a:p>
          <a:p>
            <a:pPr algn="ctr"/>
            <a:r>
              <a:rPr lang="en-US" sz="1700" b="1" dirty="0">
                <a:solidFill>
                  <a:srgbClr val="817A6C"/>
                </a:solidFill>
                <a:latin typeface="Arial" panose="020B0604020202020204" pitchFamily="34" charset="0"/>
                <a:cs typeface="Arial" panose="020B0604020202020204" pitchFamily="34" charset="0"/>
              </a:rPr>
              <a:t>Qatari Rials</a:t>
            </a:r>
            <a:r>
              <a:rPr lang="en-US" sz="1700" dirty="0">
                <a:solidFill>
                  <a:srgbClr val="817A6C"/>
                </a:solidFill>
                <a:latin typeface="Arial" panose="020B0604020202020204" pitchFamily="34" charset="0"/>
                <a:cs typeface="Arial" panose="020B0604020202020204" pitchFamily="34" charset="0"/>
              </a:rPr>
              <a:t> </a:t>
            </a:r>
          </a:p>
        </p:txBody>
      </p:sp>
      <p:sp>
        <p:nvSpPr>
          <p:cNvPr id="28" name="TextBox 27">
            <a:extLst>
              <a:ext uri="{FF2B5EF4-FFF2-40B4-BE49-F238E27FC236}">
                <a16:creationId xmlns:a16="http://schemas.microsoft.com/office/drawing/2014/main" id="{265D6318-F260-7155-EAD6-CBA3F1FFE054}"/>
              </a:ext>
            </a:extLst>
          </p:cNvPr>
          <p:cNvSpPr txBox="1"/>
          <p:nvPr/>
        </p:nvSpPr>
        <p:spPr>
          <a:xfrm>
            <a:off x="3057819" y="5061887"/>
            <a:ext cx="1701787" cy="615553"/>
          </a:xfrm>
          <a:prstGeom prst="rect">
            <a:avLst/>
          </a:prstGeom>
          <a:noFill/>
        </p:spPr>
        <p:txBody>
          <a:bodyPr wrap="square" rtlCol="0">
            <a:spAutoFit/>
          </a:bodyPr>
          <a:lstStyle/>
          <a:p>
            <a:pPr algn="ctr"/>
            <a:r>
              <a:rPr lang="en-US" sz="1700" b="1" dirty="0">
                <a:solidFill>
                  <a:srgbClr val="817A6C"/>
                </a:solidFill>
                <a:latin typeface="Arial" panose="020B0604020202020204" pitchFamily="34" charset="0"/>
                <a:cs typeface="Arial" panose="020B0604020202020204" pitchFamily="34" charset="0"/>
              </a:rPr>
              <a:t>9,749,186,748</a:t>
            </a:r>
          </a:p>
          <a:p>
            <a:pPr algn="ctr"/>
            <a:r>
              <a:rPr lang="en-US" sz="1700" b="1" dirty="0">
                <a:solidFill>
                  <a:srgbClr val="817A6C"/>
                </a:solidFill>
                <a:latin typeface="Arial" panose="020B0604020202020204" pitchFamily="34" charset="0"/>
                <a:cs typeface="Arial" panose="020B0604020202020204" pitchFamily="34" charset="0"/>
              </a:rPr>
              <a:t>Qatari Rials</a:t>
            </a:r>
          </a:p>
        </p:txBody>
      </p:sp>
      <p:sp>
        <p:nvSpPr>
          <p:cNvPr id="29" name="TextBox 28">
            <a:extLst>
              <a:ext uri="{FF2B5EF4-FFF2-40B4-BE49-F238E27FC236}">
                <a16:creationId xmlns:a16="http://schemas.microsoft.com/office/drawing/2014/main" id="{6D057188-1036-78B6-AB04-10023A9611B2}"/>
              </a:ext>
            </a:extLst>
          </p:cNvPr>
          <p:cNvSpPr txBox="1"/>
          <p:nvPr/>
        </p:nvSpPr>
        <p:spPr>
          <a:xfrm>
            <a:off x="5339202" y="5054192"/>
            <a:ext cx="1591664" cy="615553"/>
          </a:xfrm>
          <a:prstGeom prst="rect">
            <a:avLst/>
          </a:prstGeom>
          <a:noFill/>
        </p:spPr>
        <p:txBody>
          <a:bodyPr wrap="square" rtlCol="0">
            <a:spAutoFit/>
          </a:bodyPr>
          <a:lstStyle/>
          <a:p>
            <a:pPr algn="ctr"/>
            <a:r>
              <a:rPr lang="en-US" sz="1700" b="1" dirty="0">
                <a:solidFill>
                  <a:srgbClr val="817A6C"/>
                </a:solidFill>
                <a:latin typeface="Arial" panose="020B0604020202020204" pitchFamily="34" charset="0"/>
                <a:cs typeface="Arial" panose="020B0604020202020204" pitchFamily="34" charset="0"/>
              </a:rPr>
              <a:t>5,780,542,828</a:t>
            </a:r>
          </a:p>
          <a:p>
            <a:pPr algn="ctr"/>
            <a:r>
              <a:rPr lang="en-US" sz="1700" b="1" dirty="0">
                <a:solidFill>
                  <a:srgbClr val="817A6C"/>
                </a:solidFill>
                <a:latin typeface="Arial" panose="020B0604020202020204" pitchFamily="34" charset="0"/>
                <a:cs typeface="Arial" panose="020B0604020202020204" pitchFamily="34" charset="0"/>
              </a:rPr>
              <a:t>Qatari Rials </a:t>
            </a:r>
          </a:p>
        </p:txBody>
      </p:sp>
      <p:sp>
        <p:nvSpPr>
          <p:cNvPr id="30" name="TextBox 29">
            <a:extLst>
              <a:ext uri="{FF2B5EF4-FFF2-40B4-BE49-F238E27FC236}">
                <a16:creationId xmlns:a16="http://schemas.microsoft.com/office/drawing/2014/main" id="{0EDCDE23-E95B-2947-0487-1098715DDDD7}"/>
              </a:ext>
            </a:extLst>
          </p:cNvPr>
          <p:cNvSpPr txBox="1"/>
          <p:nvPr/>
        </p:nvSpPr>
        <p:spPr>
          <a:xfrm>
            <a:off x="7510144" y="5073890"/>
            <a:ext cx="1918326" cy="615553"/>
          </a:xfrm>
          <a:prstGeom prst="rect">
            <a:avLst/>
          </a:prstGeom>
          <a:noFill/>
        </p:spPr>
        <p:txBody>
          <a:bodyPr wrap="square" rtlCol="0">
            <a:spAutoFit/>
          </a:bodyPr>
          <a:lstStyle/>
          <a:p>
            <a:pPr algn="ctr"/>
            <a:r>
              <a:rPr lang="en-US" sz="1700" b="1" dirty="0">
                <a:solidFill>
                  <a:srgbClr val="817A6C"/>
                </a:solidFill>
                <a:latin typeface="Arial" panose="020B0604020202020204" pitchFamily="34" charset="0"/>
                <a:cs typeface="Arial" panose="020B0604020202020204" pitchFamily="34" charset="0"/>
              </a:rPr>
              <a:t>3,306,082,372</a:t>
            </a:r>
          </a:p>
          <a:p>
            <a:pPr algn="ctr"/>
            <a:r>
              <a:rPr lang="en-US" sz="1700" b="1" dirty="0">
                <a:solidFill>
                  <a:srgbClr val="817A6C"/>
                </a:solidFill>
                <a:latin typeface="Arial" panose="020B0604020202020204" pitchFamily="34" charset="0"/>
                <a:cs typeface="Arial" panose="020B0604020202020204" pitchFamily="34" charset="0"/>
              </a:rPr>
              <a:t>Qatari Rials</a:t>
            </a:r>
            <a:r>
              <a:rPr lang="en-US" sz="1700" dirty="0">
                <a:solidFill>
                  <a:srgbClr val="817A6C"/>
                </a:solidFill>
                <a:latin typeface="Arial" panose="020B0604020202020204" pitchFamily="34" charset="0"/>
                <a:cs typeface="Arial" panose="020B0604020202020204" pitchFamily="34" charset="0"/>
              </a:rPr>
              <a:t> </a:t>
            </a:r>
          </a:p>
        </p:txBody>
      </p:sp>
      <p:sp>
        <p:nvSpPr>
          <p:cNvPr id="31" name="TextBox 30">
            <a:extLst>
              <a:ext uri="{FF2B5EF4-FFF2-40B4-BE49-F238E27FC236}">
                <a16:creationId xmlns:a16="http://schemas.microsoft.com/office/drawing/2014/main" id="{C555CE8C-E0A5-BCA3-C15D-F699868B3E0E}"/>
              </a:ext>
            </a:extLst>
          </p:cNvPr>
          <p:cNvSpPr txBox="1"/>
          <p:nvPr/>
        </p:nvSpPr>
        <p:spPr>
          <a:xfrm>
            <a:off x="9791527" y="5073891"/>
            <a:ext cx="1849277" cy="615553"/>
          </a:xfrm>
          <a:prstGeom prst="rect">
            <a:avLst/>
          </a:prstGeom>
          <a:noFill/>
        </p:spPr>
        <p:txBody>
          <a:bodyPr wrap="square" rtlCol="0">
            <a:spAutoFit/>
          </a:bodyPr>
          <a:lstStyle/>
          <a:p>
            <a:pPr algn="ctr"/>
            <a:r>
              <a:rPr lang="en-US" sz="1700" b="1" dirty="0">
                <a:solidFill>
                  <a:srgbClr val="817A6C"/>
                </a:solidFill>
                <a:latin typeface="Arial" panose="020B0604020202020204" pitchFamily="34" charset="0"/>
                <a:cs typeface="Arial" panose="020B0604020202020204" pitchFamily="34" charset="0"/>
              </a:rPr>
              <a:t>1,866,281,052</a:t>
            </a:r>
          </a:p>
          <a:p>
            <a:pPr algn="ctr"/>
            <a:r>
              <a:rPr lang="en-US" sz="1700" b="1" dirty="0">
                <a:solidFill>
                  <a:srgbClr val="817A6C"/>
                </a:solidFill>
                <a:latin typeface="Arial" panose="020B0604020202020204" pitchFamily="34" charset="0"/>
                <a:cs typeface="Arial" panose="020B0604020202020204" pitchFamily="34" charset="0"/>
              </a:rPr>
              <a:t>Qatari Rials</a:t>
            </a:r>
          </a:p>
        </p:txBody>
      </p:sp>
      <p:sp>
        <p:nvSpPr>
          <p:cNvPr id="32" name="TextBox 31">
            <a:extLst>
              <a:ext uri="{FF2B5EF4-FFF2-40B4-BE49-F238E27FC236}">
                <a16:creationId xmlns:a16="http://schemas.microsoft.com/office/drawing/2014/main" id="{3D4688E8-FB7F-12E7-85B6-972651E1FC17}"/>
              </a:ext>
            </a:extLst>
          </p:cNvPr>
          <p:cNvSpPr txBox="1"/>
          <p:nvPr/>
        </p:nvSpPr>
        <p:spPr>
          <a:xfrm>
            <a:off x="776436" y="6324696"/>
            <a:ext cx="9306954" cy="276999"/>
          </a:xfrm>
          <a:prstGeom prst="rect">
            <a:avLst/>
          </a:prstGeom>
          <a:noFill/>
        </p:spPr>
        <p:txBody>
          <a:bodyPr wrap="square" rtlCol="0">
            <a:spAutoFit/>
          </a:bodyPr>
          <a:lstStyle/>
          <a:p>
            <a:r>
              <a:rPr lang="en-US" sz="1200" dirty="0">
                <a:solidFill>
                  <a:srgbClr val="817A6C"/>
                </a:solidFill>
                <a:latin typeface="Arial" panose="020B0604020202020204" pitchFamily="34" charset="0"/>
                <a:cs typeface="Arial" panose="020B0604020202020204" pitchFamily="34" charset="0"/>
              </a:rPr>
              <a:t>More information can be found in appendix 1</a:t>
            </a:r>
          </a:p>
        </p:txBody>
      </p:sp>
    </p:spTree>
    <p:extLst>
      <p:ext uri="{BB962C8B-B14F-4D97-AF65-F5344CB8AC3E}">
        <p14:creationId xmlns:p14="http://schemas.microsoft.com/office/powerpoint/2010/main" val="683476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DB76E9-CCD4-4F50-1E30-9C5A67DD2D06}"/>
            </a:ext>
          </a:extLst>
        </p:cNvPr>
        <p:cNvGrpSpPr/>
        <p:nvPr/>
      </p:nvGrpSpPr>
      <p:grpSpPr>
        <a:xfrm>
          <a:off x="0" y="0"/>
          <a:ext cx="0" cy="0"/>
          <a:chOff x="0" y="0"/>
          <a:chExt cx="0" cy="0"/>
        </a:xfrm>
      </p:grpSpPr>
      <p:sp>
        <p:nvSpPr>
          <p:cNvPr id="2" name="ADVANCED SCIENCES…">
            <a:extLst>
              <a:ext uri="{FF2B5EF4-FFF2-40B4-BE49-F238E27FC236}">
                <a16:creationId xmlns:a16="http://schemas.microsoft.com/office/drawing/2014/main" id="{63C881BE-FE00-362B-3E9B-80F744136854}"/>
              </a:ext>
            </a:extLst>
          </p:cNvPr>
          <p:cNvSpPr/>
          <p:nvPr/>
        </p:nvSpPr>
        <p:spPr>
          <a:xfrm flipH="1">
            <a:off x="2944890" y="2598005"/>
            <a:ext cx="6452344" cy="1169547"/>
          </a:xfrm>
          <a:prstGeom prst="rect">
            <a:avLst/>
          </a:prstGeom>
          <a:ln w="12700">
            <a:miter lim="400000"/>
          </a:ln>
          <a:extLst>
            <a:ext uri="{C572A759-6A51-4108-AA02-DFA0A04FC94B}">
              <ma14:wrappingTextBoxFlag xmlns="" xmlns:ma14="http://schemas.microsoft.com/office/mac/drawingml/2011/main" val="1"/>
            </a:ext>
          </a:extLst>
        </p:spPr>
        <p:txBody>
          <a:bodyPr wrap="square" lIns="91438" tIns="91438" rIns="91438" bIns="91438" anchor="t">
            <a:spAutoFit/>
          </a:bodyPr>
          <a:lstStyle/>
          <a:p>
            <a:pPr marL="0" marR="0" lvl="0" indent="0" algn="ctr" defTabSz="914400" rtl="1" eaLnBrk="1" fontAlgn="auto" latinLnBrk="0" hangingPunct="1">
              <a:lnSpc>
                <a:spcPct val="100000"/>
              </a:lnSpc>
              <a:spcBef>
                <a:spcPct val="0"/>
              </a:spcBef>
              <a:spcAft>
                <a:spcPts val="0"/>
              </a:spcAft>
              <a:buClrTx/>
              <a:buSzTx/>
              <a:buFontTx/>
              <a:buNone/>
              <a:tabLst/>
              <a:defRPr/>
            </a:pPr>
            <a:r>
              <a:rPr lang="en-US" sz="3200" b="1" dirty="0">
                <a:ln w="6350" cap="flat">
                  <a:noFill/>
                  <a:miter lim="800000"/>
                </a:ln>
                <a:solidFill>
                  <a:srgbClr val="7F6000"/>
                </a:solidFill>
                <a:latin typeface="Arial" panose="020B0604020202020204" pitchFamily="34" charset="0"/>
                <a:cs typeface="Arial" panose="020B0604020202020204" pitchFamily="34" charset="0"/>
                <a:sym typeface="Sakkal Majalla" panose="02000000000000000000" pitchFamily="2" charset="-78"/>
              </a:rPr>
              <a:t>The Key Exports of the State of Qatar</a:t>
            </a:r>
          </a:p>
        </p:txBody>
      </p:sp>
      <p:cxnSp>
        <p:nvCxnSpPr>
          <p:cNvPr id="3" name="Straight Connector 2">
            <a:extLst>
              <a:ext uri="{FF2B5EF4-FFF2-40B4-BE49-F238E27FC236}">
                <a16:creationId xmlns:a16="http://schemas.microsoft.com/office/drawing/2014/main" id="{47AE095E-C03E-B100-178B-EDAA05656AF7}"/>
              </a:ext>
            </a:extLst>
          </p:cNvPr>
          <p:cNvCxnSpPr/>
          <p:nvPr/>
        </p:nvCxnSpPr>
        <p:spPr>
          <a:xfrm>
            <a:off x="2944890" y="3767552"/>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2265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2FCED1-A253-187C-86F6-B3E243839EF7}"/>
            </a:ext>
          </a:extLst>
        </p:cNvPr>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F0DF30CB-A892-CC0C-47D7-909376F93BD9}"/>
              </a:ext>
            </a:extLst>
          </p:cNvPr>
          <p:cNvGraphicFramePr>
            <a:graphicFrameLocks/>
          </p:cNvGraphicFramePr>
          <p:nvPr>
            <p:extLst>
              <p:ext uri="{D42A27DB-BD31-4B8C-83A1-F6EECF244321}">
                <p14:modId xmlns:p14="http://schemas.microsoft.com/office/powerpoint/2010/main" val="3656346465"/>
              </p:ext>
            </p:extLst>
          </p:nvPr>
        </p:nvGraphicFramePr>
        <p:xfrm>
          <a:off x="382771" y="1297172"/>
          <a:ext cx="11451265" cy="5255372"/>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17">
            <a:extLst>
              <a:ext uri="{FF2B5EF4-FFF2-40B4-BE49-F238E27FC236}">
                <a16:creationId xmlns:a16="http://schemas.microsoft.com/office/drawing/2014/main" id="{C22D2EB4-F09C-8A2C-7D2E-BA01AEF7C3FF}"/>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8" name="Title 2">
            <a:extLst>
              <a:ext uri="{FF2B5EF4-FFF2-40B4-BE49-F238E27FC236}">
                <a16:creationId xmlns:a16="http://schemas.microsoft.com/office/drawing/2014/main" id="{410F9F31-2B3E-CE8F-4DCC-B17213BE1A94}"/>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The main exports of the State of Qatar</a:t>
            </a:r>
          </a:p>
        </p:txBody>
      </p:sp>
      <p:cxnSp>
        <p:nvCxnSpPr>
          <p:cNvPr id="9" name="Straight Connector 8">
            <a:extLst>
              <a:ext uri="{FF2B5EF4-FFF2-40B4-BE49-F238E27FC236}">
                <a16:creationId xmlns:a16="http://schemas.microsoft.com/office/drawing/2014/main" id="{EC01D1B5-B31B-DD50-A08B-2B988699C676}"/>
              </a:ext>
            </a:extLst>
          </p:cNvPr>
          <p:cNvCxnSpPr>
            <a:cxnSpLocks/>
          </p:cNvCxnSpPr>
          <p:nvPr/>
        </p:nvCxnSpPr>
        <p:spPr>
          <a:xfrm>
            <a:off x="174526" y="661400"/>
            <a:ext cx="8400514"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95728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C0BA20-3505-9A9B-A2EA-3E741482FD10}"/>
            </a:ext>
          </a:extLst>
        </p:cNvPr>
        <p:cNvGrpSpPr/>
        <p:nvPr/>
      </p:nvGrpSpPr>
      <p:grpSpPr>
        <a:xfrm>
          <a:off x="0" y="0"/>
          <a:ext cx="0" cy="0"/>
          <a:chOff x="0" y="0"/>
          <a:chExt cx="0" cy="0"/>
        </a:xfrm>
      </p:grpSpPr>
      <p:pic>
        <p:nvPicPr>
          <p:cNvPr id="13" name="Picture 12">
            <a:extLst>
              <a:ext uri="{FF2B5EF4-FFF2-40B4-BE49-F238E27FC236}">
                <a16:creationId xmlns:a16="http://schemas.microsoft.com/office/drawing/2014/main" id="{6E06301C-66C5-7D81-CDF2-BAC9B34597BE}"/>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3820155" y="1875366"/>
            <a:ext cx="8084442" cy="3920068"/>
          </a:xfrm>
          <a:prstGeom prst="rect">
            <a:avLst/>
          </a:prstGeom>
        </p:spPr>
      </p:pic>
      <p:sp>
        <p:nvSpPr>
          <p:cNvPr id="5" name="Rectangle 17">
            <a:extLst>
              <a:ext uri="{FF2B5EF4-FFF2-40B4-BE49-F238E27FC236}">
                <a16:creationId xmlns:a16="http://schemas.microsoft.com/office/drawing/2014/main" id="{15ACB411-2169-215B-421C-172868DABFA6}"/>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6" name="Title 2">
            <a:extLst>
              <a:ext uri="{FF2B5EF4-FFF2-40B4-BE49-F238E27FC236}">
                <a16:creationId xmlns:a16="http://schemas.microsoft.com/office/drawing/2014/main" id="{A498C180-09C8-6D0E-3DCC-5714DE586BD3}"/>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pt-BR"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Qatar Industrial Portal idb.moci.gov.qa</a:t>
            </a:r>
          </a:p>
        </p:txBody>
      </p:sp>
      <p:cxnSp>
        <p:nvCxnSpPr>
          <p:cNvPr id="7" name="Straight Connector 6">
            <a:extLst>
              <a:ext uri="{FF2B5EF4-FFF2-40B4-BE49-F238E27FC236}">
                <a16:creationId xmlns:a16="http://schemas.microsoft.com/office/drawing/2014/main" id="{C4CAE482-0010-A85D-5CB0-8F59E428B7AE}"/>
              </a:ext>
            </a:extLst>
          </p:cNvPr>
          <p:cNvCxnSpPr>
            <a:cxnSpLocks/>
          </p:cNvCxnSpPr>
          <p:nvPr/>
        </p:nvCxnSpPr>
        <p:spPr>
          <a:xfrm>
            <a:off x="174526" y="661400"/>
            <a:ext cx="8400514"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2567B56-1E03-6187-7524-4D97125C1933}"/>
              </a:ext>
            </a:extLst>
          </p:cNvPr>
          <p:cNvSpPr txBox="1"/>
          <p:nvPr/>
        </p:nvSpPr>
        <p:spPr>
          <a:xfrm>
            <a:off x="287403" y="1756122"/>
            <a:ext cx="2935733" cy="3785652"/>
          </a:xfrm>
          <a:prstGeom prst="rect">
            <a:avLst/>
          </a:prstGeom>
          <a:noFill/>
        </p:spPr>
        <p:txBody>
          <a:bodyPr wrap="square" rtlCol="0">
            <a:spAutoFit/>
          </a:bodyPr>
          <a:lstStyle/>
          <a:p>
            <a:pPr rtl="1"/>
            <a:r>
              <a:rPr lang="en-US" sz="1600" dirty="0">
                <a:solidFill>
                  <a:srgbClr val="817A6C"/>
                </a:solidFill>
                <a:latin typeface="Arial" panose="020B0604020202020204" pitchFamily="34" charset="0"/>
                <a:cs typeface="Arial" panose="020B0604020202020204" pitchFamily="34" charset="0"/>
              </a:rPr>
              <a:t>The Qatar Industrial Portal is a digital hub aimed at providing accurate and up-to-date data about the industrial sector in Qatar, making it easier to access information related to local factories and industrial products.</a:t>
            </a:r>
          </a:p>
          <a:p>
            <a:pPr rtl="1"/>
            <a:endParaRPr lang="en-US" sz="1600" dirty="0">
              <a:solidFill>
                <a:srgbClr val="817A6C"/>
              </a:solidFill>
              <a:latin typeface="Arial" panose="020B0604020202020204" pitchFamily="34" charset="0"/>
              <a:cs typeface="Arial" panose="020B0604020202020204" pitchFamily="34" charset="0"/>
            </a:endParaRPr>
          </a:p>
          <a:p>
            <a:pPr rtl="1"/>
            <a:r>
              <a:rPr lang="en-US" sz="1600" dirty="0">
                <a:solidFill>
                  <a:srgbClr val="817A6C"/>
                </a:solidFill>
                <a:latin typeface="Arial" panose="020B0604020202020204" pitchFamily="34" charset="0"/>
                <a:cs typeface="Arial" panose="020B0604020202020204" pitchFamily="34" charset="0"/>
              </a:rPr>
              <a:t>The portal aims to enhance investments in the industrial sector by providing information and statistics that help investors make informed decisions.</a:t>
            </a:r>
          </a:p>
        </p:txBody>
      </p:sp>
    </p:spTree>
    <p:extLst>
      <p:ext uri="{BB962C8B-B14F-4D97-AF65-F5344CB8AC3E}">
        <p14:creationId xmlns:p14="http://schemas.microsoft.com/office/powerpoint/2010/main" val="1596519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C06832-1161-5EFF-51B0-A91180D84C42}"/>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id="{2005D4A5-6BA5-510A-DC3A-321E191D9E4F}"/>
              </a:ext>
            </a:extLst>
          </p:cNvPr>
          <p:cNvGraphicFramePr>
            <a:graphicFrameLocks noChangeAspect="1"/>
          </p:cNvGraphicFramePr>
          <p:nvPr>
            <p:custDataLst>
              <p:tags r:id="rId2"/>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name="think-cell Slide" r:id="rId6" imgW="606" imgH="608" progId="TCLayout.ActiveDocument.1">
                  <p:embed/>
                </p:oleObj>
              </mc:Choice>
              <mc:Fallback>
                <p:oleObj name="think-cell Slide" r:id="rId6" imgW="606" imgH="608" progId="TCLayout.ActiveDocument.1">
                  <p:embed/>
                  <p:pic>
                    <p:nvPicPr>
                      <p:cNvPr id="4" name="Object 3" hidden="1">
                        <a:extLst>
                          <a:ext uri="{FF2B5EF4-FFF2-40B4-BE49-F238E27FC236}">
                            <a16:creationId xmlns:a16="http://schemas.microsoft.com/office/drawing/2014/main" id="{2005D4A5-6BA5-510A-DC3A-321E191D9E4F}"/>
                          </a:ext>
                        </a:extLst>
                      </p:cNvPr>
                      <p:cNvPicPr/>
                      <p:nvPr/>
                    </p:nvPicPr>
                    <p:blipFill>
                      <a:blip r:embed="rId7"/>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A15F2EB-68EF-82A1-1215-347DF890A3FA}"/>
              </a:ext>
            </a:extLst>
          </p:cNvPr>
          <p:cNvSpPr/>
          <p:nvPr>
            <p:custDataLst>
              <p:tags r:id="rId3"/>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id="{042F010D-3210-E811-FF5A-17417BFABA77}"/>
              </a:ext>
            </a:extLst>
          </p:cNvPr>
          <p:cNvSpPr txBox="1">
            <a:spLocks/>
          </p:cNvSpPr>
          <p:nvPr/>
        </p:nvSpPr>
        <p:spPr>
          <a:xfrm flipH="1">
            <a:off x="287403" y="504054"/>
            <a:ext cx="11617194" cy="449577"/>
          </a:xfrm>
          <a:prstGeom prst="rect">
            <a:avLst/>
          </a:prstGeom>
        </p:spPr>
        <p:txBody>
          <a:bodyPr vert="horz" wrap="square" lIns="0" tIns="0" rIns="0" bIns="0" rtlCol="0" anchor="t">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1" eaLnBrk="1" fontAlgn="auto" latinLnBrk="0" hangingPunct="1">
              <a:lnSpc>
                <a:spcPct val="90000"/>
              </a:lnSpc>
              <a:spcBef>
                <a:spcPct val="0"/>
              </a:spcBef>
              <a:spcAft>
                <a:spcPts val="0"/>
              </a:spcAft>
              <a:buClrTx/>
              <a:buSzTx/>
              <a:buFontTx/>
              <a:buNone/>
              <a:tabLst/>
              <a:defRPr/>
            </a:pPr>
            <a:r>
              <a:rPr lang="en-US" dirty="0">
                <a:solidFill>
                  <a:schemeClr val="accent4">
                    <a:lumMod val="50000"/>
                  </a:schemeClr>
                </a:solidFill>
                <a:latin typeface="Arial" panose="020B0604020202020204" pitchFamily="34" charset="0"/>
                <a:ea typeface="+mj-ea"/>
                <a:cs typeface="+mn-cs"/>
                <a:sym typeface="Sakkal Majalla" panose="02000000000000000000" pitchFamily="2" charset="-78"/>
              </a:rPr>
              <a:t>Agenda</a:t>
            </a:r>
          </a:p>
        </p:txBody>
      </p:sp>
      <p:cxnSp>
        <p:nvCxnSpPr>
          <p:cNvPr id="2" name="Straight Connector 1">
            <a:extLst>
              <a:ext uri="{FF2B5EF4-FFF2-40B4-BE49-F238E27FC236}">
                <a16:creationId xmlns:a16="http://schemas.microsoft.com/office/drawing/2014/main" id="{C52BA0F9-ED3E-F3AE-2B1A-5B8C5E22931B}"/>
              </a:ext>
            </a:extLst>
          </p:cNvPr>
          <p:cNvCxnSpPr>
            <a:cxnSpLocks/>
          </p:cNvCxnSpPr>
          <p:nvPr/>
        </p:nvCxnSpPr>
        <p:spPr>
          <a:xfrm>
            <a:off x="301558" y="1084462"/>
            <a:ext cx="6031105"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A white wavy paper on a white background&#10;&#10;Description automatically generated">
            <a:extLst>
              <a:ext uri="{FF2B5EF4-FFF2-40B4-BE49-F238E27FC236}">
                <a16:creationId xmlns:a16="http://schemas.microsoft.com/office/drawing/2014/main" id="{5DE54558-411E-3E18-D767-9284775FE705}"/>
              </a:ext>
            </a:extLst>
          </p:cNvPr>
          <p:cNvPicPr>
            <a:picLocks noChangeAspect="1"/>
          </p:cNvPicPr>
          <p:nvPr/>
        </p:nvPicPr>
        <p:blipFill rotWithShape="1">
          <a:blip r:embed="rId8" cstate="email">
            <a:alphaModFix amt="37000"/>
            <a:extLst>
              <a:ext uri="{28A0092B-C50C-407E-A947-70E740481C1C}">
                <a14:useLocalDpi xmlns:a14="http://schemas.microsoft.com/office/drawing/2010/main"/>
              </a:ext>
            </a:extLst>
          </a:blip>
          <a:srcRect/>
          <a:stretch/>
        </p:blipFill>
        <p:spPr>
          <a:xfrm>
            <a:off x="486661" y="3127919"/>
            <a:ext cx="11129846" cy="397713"/>
          </a:xfrm>
          <a:prstGeom prst="rect">
            <a:avLst/>
          </a:prstGeom>
          <a:ln>
            <a:solidFill>
              <a:srgbClr val="7F6000"/>
            </a:solidFill>
          </a:ln>
        </p:spPr>
      </p:pic>
      <p:sp>
        <p:nvSpPr>
          <p:cNvPr id="8" name="Rectangle 7">
            <a:extLst>
              <a:ext uri="{FF2B5EF4-FFF2-40B4-BE49-F238E27FC236}">
                <a16:creationId xmlns:a16="http://schemas.microsoft.com/office/drawing/2014/main" id="{2742AD80-B8FD-E7F5-42DE-1E90A831164E}"/>
              </a:ext>
            </a:extLst>
          </p:cNvPr>
          <p:cNvSpPr/>
          <p:nvPr/>
        </p:nvSpPr>
        <p:spPr>
          <a:xfrm>
            <a:off x="502024" y="1186215"/>
            <a:ext cx="7714749"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Item</a:t>
            </a:r>
            <a:endParaRPr lang="en-US" sz="2400" dirty="0">
              <a:solidFill>
                <a:srgbClr val="866A2C"/>
              </a:solidFill>
              <a:latin typeface="Sakkal Majalla" panose="02000000000000000000" pitchFamily="2" charset="-78"/>
            </a:endParaRPr>
          </a:p>
        </p:txBody>
      </p:sp>
      <p:cxnSp>
        <p:nvCxnSpPr>
          <p:cNvPr id="9" name="Straight Connector 8">
            <a:extLst>
              <a:ext uri="{FF2B5EF4-FFF2-40B4-BE49-F238E27FC236}">
                <a16:creationId xmlns:a16="http://schemas.microsoft.com/office/drawing/2014/main" id="{5FD5BBFF-3EC7-0567-9003-505B235DE23D}"/>
              </a:ext>
            </a:extLst>
          </p:cNvPr>
          <p:cNvCxnSpPr>
            <a:cxnSpLocks/>
          </p:cNvCxnSpPr>
          <p:nvPr/>
        </p:nvCxnSpPr>
        <p:spPr>
          <a:xfrm flipH="1">
            <a:off x="575493" y="1755113"/>
            <a:ext cx="1161650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F7E1F745-E523-F0C5-DE53-6C7F9F998041}"/>
              </a:ext>
            </a:extLst>
          </p:cNvPr>
          <p:cNvSpPr/>
          <p:nvPr/>
        </p:nvSpPr>
        <p:spPr>
          <a:xfrm>
            <a:off x="7342277" y="1186215"/>
            <a:ext cx="1787210"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Time (UAE)</a:t>
            </a:r>
            <a:endParaRPr lang="en-US" sz="2400" dirty="0">
              <a:solidFill>
                <a:srgbClr val="866A2C"/>
              </a:solidFill>
              <a:latin typeface="Sakkal Majalla" panose="02000000000000000000" pitchFamily="2" charset="-78"/>
            </a:endParaRPr>
          </a:p>
        </p:txBody>
      </p:sp>
      <p:sp>
        <p:nvSpPr>
          <p:cNvPr id="12" name="Rectangle 11">
            <a:extLst>
              <a:ext uri="{FF2B5EF4-FFF2-40B4-BE49-F238E27FC236}">
                <a16:creationId xmlns:a16="http://schemas.microsoft.com/office/drawing/2014/main" id="{D6C91AFB-6964-6250-9AD0-EEA22874A821}"/>
              </a:ext>
            </a:extLst>
          </p:cNvPr>
          <p:cNvSpPr/>
          <p:nvPr/>
        </p:nvSpPr>
        <p:spPr>
          <a:xfrm>
            <a:off x="9767138" y="1186215"/>
            <a:ext cx="1787210"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Time (Qatar)</a:t>
            </a:r>
            <a:endParaRPr lang="en-US" sz="2400" dirty="0">
              <a:solidFill>
                <a:srgbClr val="866A2C"/>
              </a:solidFill>
              <a:latin typeface="Sakkal Majalla" panose="02000000000000000000" pitchFamily="2" charset="-78"/>
            </a:endParaRPr>
          </a:p>
        </p:txBody>
      </p:sp>
      <p:sp>
        <p:nvSpPr>
          <p:cNvPr id="14" name="Rectangle 13">
            <a:extLst>
              <a:ext uri="{FF2B5EF4-FFF2-40B4-BE49-F238E27FC236}">
                <a16:creationId xmlns:a16="http://schemas.microsoft.com/office/drawing/2014/main" id="{A1C898C3-9DE5-70BB-9660-1C1034C2F483}"/>
              </a:ext>
            </a:extLst>
          </p:cNvPr>
          <p:cNvSpPr/>
          <p:nvPr/>
        </p:nvSpPr>
        <p:spPr>
          <a:xfrm>
            <a:off x="9376660" y="5880258"/>
            <a:ext cx="1407669" cy="600740"/>
          </a:xfrm>
          <a:prstGeom prst="rect">
            <a:avLst/>
          </a:prstGeom>
        </p:spPr>
        <p:txBody>
          <a:bodyPr vert="horz" wrap="square" lIns="0" tIns="0" rIns="0" bIns="0" rtlCol="0" anchor="t">
            <a:noAutofit/>
          </a:bodyPr>
          <a:lstStyle/>
          <a:p>
            <a:pPr algn="ctr" rtl="1">
              <a:lnSpc>
                <a:spcPct val="90000"/>
              </a:lnSpc>
              <a:spcBef>
                <a:spcPct val="0"/>
              </a:spcBef>
            </a:pPr>
            <a:r>
              <a:rPr lang="en-US" sz="1600" b="1" dirty="0">
                <a:solidFill>
                  <a:srgbClr val="866A2C"/>
                </a:solidFill>
                <a:latin typeface="Arial" panose="020B0604020202020204" pitchFamily="34" charset="0"/>
                <a:ea typeface="+mj-ea"/>
                <a:cs typeface="Arial" panose="020B0604020202020204" pitchFamily="34" charset="0"/>
              </a:rPr>
              <a:t>Attendance Registration and Feedback</a:t>
            </a:r>
            <a:endParaRPr lang="ar-AE" sz="1600" b="1" dirty="0">
              <a:solidFill>
                <a:srgbClr val="866A2C"/>
              </a:solidFill>
              <a:latin typeface="Arial" panose="020B0604020202020204" pitchFamily="34" charset="0"/>
              <a:ea typeface="+mj-ea"/>
              <a:cs typeface="Arial" panose="020B0604020202020204" pitchFamily="34" charset="0"/>
            </a:endParaRPr>
          </a:p>
        </p:txBody>
      </p:sp>
      <p:pic>
        <p:nvPicPr>
          <p:cNvPr id="6" name="Picture 5">
            <a:extLst>
              <a:ext uri="{FF2B5EF4-FFF2-40B4-BE49-F238E27FC236}">
                <a16:creationId xmlns:a16="http://schemas.microsoft.com/office/drawing/2014/main" id="{BED1523F-A034-3721-FDB8-60A31A799E2D}"/>
              </a:ext>
            </a:extLst>
          </p:cNvPr>
          <p:cNvPicPr>
            <a:picLocks noChangeAspect="1"/>
          </p:cNvPicPr>
          <p:nvPr/>
        </p:nvPicPr>
        <p:blipFill>
          <a:blip r:embed="rId9"/>
          <a:stretch>
            <a:fillRect/>
          </a:stretch>
        </p:blipFill>
        <p:spPr>
          <a:xfrm>
            <a:off x="9461282" y="4487711"/>
            <a:ext cx="1238423" cy="1257475"/>
          </a:xfrm>
          <a:prstGeom prst="rect">
            <a:avLst/>
          </a:prstGeom>
        </p:spPr>
      </p:pic>
      <p:sp>
        <p:nvSpPr>
          <p:cNvPr id="10" name="Rectangle 9">
            <a:extLst>
              <a:ext uri="{FF2B5EF4-FFF2-40B4-BE49-F238E27FC236}">
                <a16:creationId xmlns:a16="http://schemas.microsoft.com/office/drawing/2014/main" id="{96C4C807-8DC6-2E8E-07D2-1E28C8059341}"/>
              </a:ext>
            </a:extLst>
          </p:cNvPr>
          <p:cNvSpPr/>
          <p:nvPr/>
        </p:nvSpPr>
        <p:spPr>
          <a:xfrm>
            <a:off x="575493" y="1791937"/>
            <a:ext cx="6766783" cy="4611519"/>
          </a:xfrm>
          <a:prstGeom prst="rect">
            <a:avLst/>
          </a:prstGeom>
        </p:spPr>
        <p:txBody>
          <a:bodyPr wrap="square">
            <a:spAutoFit/>
          </a:bodyPr>
          <a:lstStyle/>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Welcome, Objectives and Agenda</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the industrial partnership</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Qatar Industrial Landscape</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Türkiye Industrial Landscape</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Companies Introduction and preliminary discussion</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Pharmaceuticals </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Agriculture, Food and Fertilizers </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Chemicals, Plastics And Downstream Products</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Metals, Minerals And Downstream Products</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Textiles</a:t>
            </a:r>
          </a:p>
          <a:p>
            <a:pPr marL="457200" indent="-457200" algn="l">
              <a:lnSpc>
                <a:spcPct val="150000"/>
              </a:lnSpc>
              <a:buFont typeface="+mj-lt"/>
              <a:buAutoNum type="arabicPeriod"/>
            </a:pPr>
            <a:endParaRPr lang="en-US" b="1" dirty="0">
              <a:solidFill>
                <a:srgbClr val="817A6C"/>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FCA65631-4826-3494-B81D-E19BC9A1E1F4}"/>
              </a:ext>
            </a:extLst>
          </p:cNvPr>
          <p:cNvSpPr/>
          <p:nvPr/>
        </p:nvSpPr>
        <p:spPr>
          <a:xfrm>
            <a:off x="9811974" y="1755113"/>
            <a:ext cx="2034385" cy="2534027"/>
          </a:xfrm>
          <a:prstGeom prst="rect">
            <a:avLst/>
          </a:prstGeom>
        </p:spPr>
        <p:txBody>
          <a:bodyPr wrap="square">
            <a:spAutoFit/>
          </a:bodyPr>
          <a:lstStyle/>
          <a:p>
            <a:pPr>
              <a:lnSpc>
                <a:spcPct val="150000"/>
              </a:lnSpc>
            </a:pPr>
            <a:r>
              <a:rPr lang="en-US" b="1" dirty="0">
                <a:solidFill>
                  <a:srgbClr val="817A6C"/>
                </a:solidFill>
                <a:latin typeface="Arial" panose="020B0604020202020204" pitchFamily="34" charset="0"/>
                <a:cs typeface="Arial" panose="020B0604020202020204" pitchFamily="34" charset="0"/>
              </a:rPr>
              <a:t>12:00 – 12:05</a:t>
            </a:r>
          </a:p>
          <a:p>
            <a:pPr>
              <a:lnSpc>
                <a:spcPct val="150000"/>
              </a:lnSpc>
            </a:pPr>
            <a:r>
              <a:rPr lang="en-US" b="1" dirty="0">
                <a:solidFill>
                  <a:srgbClr val="817A6C"/>
                </a:solidFill>
                <a:latin typeface="Arial" panose="020B0604020202020204" pitchFamily="34" charset="0"/>
                <a:cs typeface="Arial" panose="020B0604020202020204" pitchFamily="34" charset="0"/>
              </a:rPr>
              <a:t>12:05 – 12:15</a:t>
            </a:r>
          </a:p>
          <a:p>
            <a:pPr>
              <a:lnSpc>
                <a:spcPct val="150000"/>
              </a:lnSpc>
            </a:pPr>
            <a:r>
              <a:rPr lang="en-US" b="1" dirty="0">
                <a:solidFill>
                  <a:srgbClr val="817A6C"/>
                </a:solidFill>
                <a:latin typeface="Arial" panose="020B0604020202020204" pitchFamily="34" charset="0"/>
                <a:cs typeface="Arial" panose="020B0604020202020204" pitchFamily="34" charset="0"/>
              </a:rPr>
              <a:t>12:15 – 12:25</a:t>
            </a:r>
          </a:p>
          <a:p>
            <a:pPr>
              <a:lnSpc>
                <a:spcPct val="150000"/>
              </a:lnSpc>
            </a:pPr>
            <a:r>
              <a:rPr lang="en-US" b="1" dirty="0">
                <a:solidFill>
                  <a:srgbClr val="817A6C"/>
                </a:solidFill>
                <a:latin typeface="Arial" panose="020B0604020202020204" pitchFamily="34" charset="0"/>
                <a:cs typeface="Arial" panose="020B0604020202020204" pitchFamily="34" charset="0"/>
              </a:rPr>
              <a:t>12:25 – 12:35</a:t>
            </a:r>
          </a:p>
          <a:p>
            <a:pPr>
              <a:lnSpc>
                <a:spcPct val="150000"/>
              </a:lnSpc>
            </a:pPr>
            <a:r>
              <a:rPr lang="en-US" b="1" dirty="0">
                <a:solidFill>
                  <a:srgbClr val="817A6C"/>
                </a:solidFill>
                <a:latin typeface="Arial" panose="020B0604020202020204" pitchFamily="34" charset="0"/>
                <a:cs typeface="Arial" panose="020B0604020202020204" pitchFamily="34" charset="0"/>
              </a:rPr>
              <a:t>12:35 – 14:00</a:t>
            </a:r>
          </a:p>
          <a:p>
            <a:pPr>
              <a:lnSpc>
                <a:spcPct val="150000"/>
              </a:lnSpc>
            </a:pPr>
            <a:endParaRPr lang="ar-AE" b="1" dirty="0">
              <a:solidFill>
                <a:srgbClr val="817A6C"/>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BE334FF2-FBD3-73CF-C90E-41CFB64DD024}"/>
              </a:ext>
            </a:extLst>
          </p:cNvPr>
          <p:cNvSpPr/>
          <p:nvPr/>
        </p:nvSpPr>
        <p:spPr>
          <a:xfrm>
            <a:off x="7273049" y="1755113"/>
            <a:ext cx="2034385" cy="2534027"/>
          </a:xfrm>
          <a:prstGeom prst="rect">
            <a:avLst/>
          </a:prstGeom>
        </p:spPr>
        <p:txBody>
          <a:bodyPr wrap="square">
            <a:spAutoFit/>
          </a:bodyPr>
          <a:lstStyle/>
          <a:p>
            <a:pPr>
              <a:lnSpc>
                <a:spcPct val="150000"/>
              </a:lnSpc>
            </a:pPr>
            <a:r>
              <a:rPr lang="en-US" b="1" dirty="0">
                <a:solidFill>
                  <a:srgbClr val="817A6C"/>
                </a:solidFill>
                <a:latin typeface="Arial" panose="020B0604020202020204" pitchFamily="34" charset="0"/>
                <a:cs typeface="Arial" panose="020B0604020202020204" pitchFamily="34" charset="0"/>
              </a:rPr>
              <a:t>13:00 – 13:05</a:t>
            </a:r>
          </a:p>
          <a:p>
            <a:pPr>
              <a:lnSpc>
                <a:spcPct val="150000"/>
              </a:lnSpc>
            </a:pPr>
            <a:r>
              <a:rPr lang="en-US" b="1" dirty="0">
                <a:solidFill>
                  <a:srgbClr val="817A6C"/>
                </a:solidFill>
                <a:latin typeface="Arial" panose="020B0604020202020204" pitchFamily="34" charset="0"/>
                <a:cs typeface="Arial" panose="020B0604020202020204" pitchFamily="34" charset="0"/>
              </a:rPr>
              <a:t>13:05 – 13:15</a:t>
            </a:r>
          </a:p>
          <a:p>
            <a:pPr>
              <a:lnSpc>
                <a:spcPct val="150000"/>
              </a:lnSpc>
            </a:pPr>
            <a:r>
              <a:rPr lang="en-US" b="1" dirty="0">
                <a:solidFill>
                  <a:srgbClr val="817A6C"/>
                </a:solidFill>
                <a:latin typeface="Arial" panose="020B0604020202020204" pitchFamily="34" charset="0"/>
                <a:cs typeface="Arial" panose="020B0604020202020204" pitchFamily="34" charset="0"/>
              </a:rPr>
              <a:t>13:15 – 13:25</a:t>
            </a:r>
          </a:p>
          <a:p>
            <a:pPr>
              <a:lnSpc>
                <a:spcPct val="150000"/>
              </a:lnSpc>
            </a:pPr>
            <a:r>
              <a:rPr lang="en-US" b="1" dirty="0">
                <a:solidFill>
                  <a:srgbClr val="817A6C"/>
                </a:solidFill>
                <a:latin typeface="Arial" panose="020B0604020202020204" pitchFamily="34" charset="0"/>
                <a:cs typeface="Arial" panose="020B0604020202020204" pitchFamily="34" charset="0"/>
              </a:rPr>
              <a:t>14:25 – 14:35</a:t>
            </a:r>
          </a:p>
          <a:p>
            <a:pPr>
              <a:lnSpc>
                <a:spcPct val="150000"/>
              </a:lnSpc>
            </a:pPr>
            <a:r>
              <a:rPr lang="en-US" b="1" dirty="0">
                <a:solidFill>
                  <a:srgbClr val="817A6C"/>
                </a:solidFill>
                <a:latin typeface="Arial" panose="020B0604020202020204" pitchFamily="34" charset="0"/>
                <a:cs typeface="Arial" panose="020B0604020202020204" pitchFamily="34" charset="0"/>
              </a:rPr>
              <a:t>14:35 – 15:00</a:t>
            </a:r>
          </a:p>
          <a:p>
            <a:pPr>
              <a:lnSpc>
                <a:spcPct val="150000"/>
              </a:lnSpc>
            </a:pPr>
            <a:endParaRPr lang="ar-AE" b="1" dirty="0">
              <a:solidFill>
                <a:srgbClr val="817A6C"/>
              </a:solidFill>
              <a:latin typeface="Arial" panose="020B0604020202020204" pitchFamily="34" charset="0"/>
              <a:cs typeface="Arial" panose="020B0604020202020204" pitchFamily="34" charset="0"/>
            </a:endParaRPr>
          </a:p>
        </p:txBody>
      </p:sp>
    </p:spTree>
    <p:custDataLst>
      <p:custData r:id="rId1"/>
    </p:custDataLst>
    <p:extLst>
      <p:ext uri="{BB962C8B-B14F-4D97-AF65-F5344CB8AC3E}">
        <p14:creationId xmlns:p14="http://schemas.microsoft.com/office/powerpoint/2010/main" val="4152575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03166E-14CD-8AA4-132C-B1A7FDCDCD48}"/>
            </a:ext>
          </a:extLst>
        </p:cNvPr>
        <p:cNvGrpSpPr/>
        <p:nvPr/>
      </p:nvGrpSpPr>
      <p:grpSpPr>
        <a:xfrm>
          <a:off x="12192000" y="0"/>
          <a:ext cx="0" cy="0"/>
          <a:chOff x="12192000" y="0"/>
          <a:chExt cx="0" cy="0"/>
        </a:xfrm>
      </p:grpSpPr>
      <p:graphicFrame>
        <p:nvGraphicFramePr>
          <p:cNvPr id="5" name="Object 4" hidden="1">
            <a:extLst>
              <a:ext uri="{FF2B5EF4-FFF2-40B4-BE49-F238E27FC236}">
                <a16:creationId xmlns:a16="http://schemas.microsoft.com/office/drawing/2014/main" id="{061FDB74-A2FC-67A9-34BB-929F579D8FE3}"/>
              </a:ext>
            </a:extLst>
          </p:cNvPr>
          <p:cNvGraphicFramePr>
            <a:graphicFrameLocks noChangeAspect="1"/>
          </p:cNvGraphicFramePr>
          <p:nvPr>
            <p:custDataLst>
              <p:tags r:id="rId1"/>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5" name="Object 4" hidden="1">
                        <a:extLst>
                          <a:ext uri="{FF2B5EF4-FFF2-40B4-BE49-F238E27FC236}">
                            <a16:creationId xmlns:a16="http://schemas.microsoft.com/office/drawing/2014/main" id="{061FDB74-A2FC-67A9-34BB-929F579D8FE3}"/>
                          </a:ext>
                        </a:extLst>
                      </p:cNvPr>
                      <p:cNvPicPr/>
                      <p:nvPr/>
                    </p:nvPicPr>
                    <p:blipFill>
                      <a:blip r:embed="rId5"/>
                      <a:stretch>
                        <a:fillRect/>
                      </a:stretch>
                    </p:blipFill>
                    <p:spPr>
                      <a:xfrm>
                        <a:off x="12188824" y="1588"/>
                        <a:ext cx="1588" cy="1588"/>
                      </a:xfrm>
                      <a:prstGeom prst="rect">
                        <a:avLst/>
                      </a:prstGeom>
                    </p:spPr>
                  </p:pic>
                </p:oleObj>
              </mc:Fallback>
            </mc:AlternateContent>
          </a:graphicData>
        </a:graphic>
      </p:graphicFrame>
      <p:sp>
        <p:nvSpPr>
          <p:cNvPr id="4" name="ADVANCED SCIENCES…">
            <a:extLst>
              <a:ext uri="{FF2B5EF4-FFF2-40B4-BE49-F238E27FC236}">
                <a16:creationId xmlns:a16="http://schemas.microsoft.com/office/drawing/2014/main" id="{EAC8997F-F61B-BA50-1B58-700A12E038FA}"/>
              </a:ext>
            </a:extLst>
          </p:cNvPr>
          <p:cNvSpPr/>
          <p:nvPr/>
        </p:nvSpPr>
        <p:spPr>
          <a:xfrm flipH="1">
            <a:off x="1723946" y="2639689"/>
            <a:ext cx="8228175" cy="677104"/>
          </a:xfrm>
          <a:prstGeom prst="rect">
            <a:avLst/>
          </a:prstGeom>
          <a:ln w="12700">
            <a:miter lim="400000"/>
          </a:ln>
          <a:extLst>
            <a:ext uri="{C572A759-6A51-4108-AA02-DFA0A04FC94B}">
              <ma14:wrappingTextBoxFlag xmlns="" xmlns:ma14="http://schemas.microsoft.com/office/mac/drawingml/2011/main" val="1"/>
            </a:ext>
          </a:extLst>
        </p:spPr>
        <p:txBody>
          <a:bodyPr wrap="square" lIns="91438" tIns="91438" rIns="91438" bIns="91438" anchor="t">
            <a:spAutoFit/>
          </a:bodyPr>
          <a:lstStyle/>
          <a:p>
            <a:pPr marL="0" marR="0" lvl="0" indent="0" algn="ctr" defTabSz="914400" rtl="1" eaLnBrk="1" fontAlgn="auto" latinLnBrk="0" hangingPunct="1">
              <a:lnSpc>
                <a:spcPct val="100000"/>
              </a:lnSpc>
              <a:spcBef>
                <a:spcPct val="0"/>
              </a:spcBef>
              <a:spcAft>
                <a:spcPts val="0"/>
              </a:spcAft>
              <a:buClrTx/>
              <a:buSzTx/>
              <a:buFontTx/>
              <a:buNone/>
              <a:tabLst/>
              <a:defRPr/>
            </a:pPr>
            <a:endParaRPr kumimoji="0" lang="en-US" sz="3200" b="1" i="0" u="none" strike="noStrike" kern="1200" cap="none" spc="0" normalizeH="0" baseline="0" noProof="0" dirty="0">
              <a:ln w="6350" cap="flat">
                <a:noFill/>
                <a:miter lim="800000"/>
              </a:ln>
              <a:solidFill>
                <a:srgbClr val="817A6C"/>
              </a:solidFill>
              <a:effectLst/>
              <a:uLnTx/>
              <a:uFillTx/>
              <a:latin typeface="Janna LT" panose="01000000000000000000" pitchFamily="2" charset="-78"/>
              <a:ea typeface="+mn-ea"/>
              <a:cs typeface="Janna LT" panose="01000000000000000000" pitchFamily="2" charset="-78"/>
              <a:sym typeface="Sakkal Majalla" panose="02000000000000000000" pitchFamily="2" charset="-78"/>
            </a:endParaRPr>
          </a:p>
        </p:txBody>
      </p:sp>
      <p:pic>
        <p:nvPicPr>
          <p:cNvPr id="9" name="Picture 8">
            <a:extLst>
              <a:ext uri="{FF2B5EF4-FFF2-40B4-BE49-F238E27FC236}">
                <a16:creationId xmlns:a16="http://schemas.microsoft.com/office/drawing/2014/main" id="{8CE9F4E3-C3F1-AADA-772D-AB662BDE7DDF}"/>
              </a:ext>
            </a:extLst>
          </p:cNvPr>
          <p:cNvPicPr>
            <a:picLocks noChangeAspect="1"/>
          </p:cNvPicPr>
          <p:nvPr/>
        </p:nvPicPr>
        <p:blipFill>
          <a:blip r:embed="rId6" cstate="email">
            <a:alphaModFix amt="20000"/>
            <a:extLst>
              <a:ext uri="{BEBA8EAE-BF5A-486C-A8C5-ECC9F3942E4B}">
                <a14:imgProps xmlns:a14="http://schemas.microsoft.com/office/drawing/2010/main">
                  <a14:imgLayer r:embed="rId7">
                    <a14:imgEffect>
                      <a14:backgroundRemoval t="7602" b="100000" l="9961" r="89844">
                        <a14:foregroundMark x1="39453" y1="44211" x2="42871" y2="66433"/>
                        <a14:foregroundMark x1="57520" y1="58596" x2="52148" y2="57661"/>
                        <a14:foregroundMark x1="23047" y1="61287" x2="23047" y2="49825"/>
                        <a14:foregroundMark x1="38086" y1="47953" x2="38574" y2="61520"/>
                        <a14:foregroundMark x1="38574" y1="61520" x2="38867" y2="62456"/>
                        <a14:foregroundMark x1="23340" y1="43392" x2="22949" y2="33099"/>
                        <a14:foregroundMark x1="23145" y1="13684" x2="23047" y2="20702"/>
                        <a14:foregroundMark x1="23438" y1="17661" x2="22754" y2="35789"/>
                        <a14:foregroundMark x1="23633" y1="38713" x2="23535" y2="36023"/>
                        <a14:foregroundMark x1="22656" y1="10526" x2="22754" y2="9474"/>
                        <a14:foregroundMark x1="23633" y1="71228" x2="23242" y2="82573"/>
                        <a14:foregroundMark x1="23633" y1="71228" x2="23633" y2="73684"/>
                        <a14:foregroundMark x1="22754" y1="83158" x2="23340" y2="95205"/>
                        <a14:foregroundMark x1="21973" y1="77778" x2="22461" y2="64211"/>
                        <a14:foregroundMark x1="23242" y1="10760" x2="23047" y2="10175"/>
                        <a14:foregroundMark x1="23535" y1="96257" x2="23535" y2="99883"/>
                        <a14:foregroundMark x1="22754" y1="8304" x2="22754" y2="7602"/>
                        <a14:foregroundMark x1="23633" y1="14152" x2="23633" y2="13333"/>
                        <a14:foregroundMark x1="23340" y1="14269" x2="23340" y2="13333"/>
                        <a14:foregroundMark x1="23438" y1="12982" x2="23535" y2="13099"/>
                        <a14:foregroundMark x1="78711" y1="88070" x2="79297" y2="87719"/>
                        <a14:foregroundMark x1="80664" y1="76959" x2="82227" y2="74503"/>
                        <a14:backgroundMark x1="79980" y1="88070" x2="81152" y2="86901"/>
                        <a14:backgroundMark x1="79785" y1="87368" x2="80371" y2="87018"/>
                        <a14:backgroundMark x1="79980" y1="87602" x2="79688" y2="87485"/>
                        <a14:backgroundMark x1="79980" y1="87368" x2="79883" y2="87836"/>
                      </a14:backgroundRemoval>
                    </a14:imgEffect>
                  </a14:imgLayer>
                </a14:imgProps>
              </a:ext>
              <a:ext uri="{28A0092B-C50C-407E-A947-70E740481C1C}">
                <a14:useLocalDpi xmlns:a14="http://schemas.microsoft.com/office/drawing/2010/main"/>
              </a:ext>
            </a:extLst>
          </a:blip>
          <a:srcRect/>
          <a:stretch/>
        </p:blipFill>
        <p:spPr>
          <a:xfrm flipH="1">
            <a:off x="5473191" y="103350"/>
            <a:ext cx="8085610" cy="6754650"/>
          </a:xfrm>
          <a:prstGeom prst="rect">
            <a:avLst/>
          </a:prstGeom>
        </p:spPr>
      </p:pic>
      <p:sp>
        <p:nvSpPr>
          <p:cNvPr id="2" name="ADVANCED SCIENCES…">
            <a:extLst>
              <a:ext uri="{FF2B5EF4-FFF2-40B4-BE49-F238E27FC236}">
                <a16:creationId xmlns:a16="http://schemas.microsoft.com/office/drawing/2014/main" id="{438DC16C-5B68-BC0D-EBEC-4FCBB2D31E67}"/>
              </a:ext>
            </a:extLst>
          </p:cNvPr>
          <p:cNvSpPr/>
          <p:nvPr/>
        </p:nvSpPr>
        <p:spPr>
          <a:xfrm flipH="1">
            <a:off x="208686" y="2506690"/>
            <a:ext cx="10328939" cy="2400653"/>
          </a:xfrm>
          <a:prstGeom prst="rect">
            <a:avLst/>
          </a:prstGeom>
          <a:ln w="12700">
            <a:miter lim="400000"/>
          </a:ln>
          <a:extLst>
            <a:ext uri="{C572A759-6A51-4108-AA02-DFA0A04FC94B}">
              <ma14:wrappingTextBoxFlag xmlns="" xmlns:ma14="http://schemas.microsoft.com/office/mac/drawingml/2011/main" val="1"/>
            </a:ext>
          </a:extLst>
        </p:spPr>
        <p:txBody>
          <a:bodyPr wrap="square" lIns="91438" tIns="91438" rIns="91438" bIns="91438"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7F6000"/>
                </a:solidFill>
                <a:effectLst/>
                <a:uLnTx/>
                <a:uFillTx/>
                <a:latin typeface="Arial" panose="020B0604020202020204" pitchFamily="34" charset="0"/>
                <a:cs typeface="Arial" panose="020B0604020202020204" pitchFamily="34" charset="0"/>
                <a:sym typeface="Sakkal Majalla" panose="02000000000000000000" pitchFamily="2" charset="-78"/>
              </a:rPr>
              <a:t>Overview of the Industrial Sector, Incentives and Investment Opportunities in Türkiy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dirty="0">
              <a:ln>
                <a:noFill/>
              </a:ln>
              <a:solidFill>
                <a:srgbClr val="7F6000"/>
              </a:solidFill>
              <a:effectLst/>
              <a:uLnTx/>
              <a:uFillTx/>
              <a:latin typeface="Arial" panose="020B0604020202020204" pitchFamily="34" charset="0"/>
              <a:cs typeface="Arial" panose="020B0604020202020204" pitchFamily="34" charset="0"/>
              <a:sym typeface="Sakkal Majalla" panose="02000000000000000000" pitchFamily="2" charset="-7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dirty="0">
              <a:ln>
                <a:noFill/>
              </a:ln>
              <a:solidFill>
                <a:srgbClr val="7F6000"/>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Tree>
    <p:extLst>
      <p:ext uri="{BB962C8B-B14F-4D97-AF65-F5344CB8AC3E}">
        <p14:creationId xmlns:p14="http://schemas.microsoft.com/office/powerpoint/2010/main" val="3958946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D42E9-76EE-26BE-9F9F-9B3B67A5E1E2}"/>
            </a:ext>
          </a:extLst>
        </p:cNvPr>
        <p:cNvGrpSpPr/>
        <p:nvPr/>
      </p:nvGrpSpPr>
      <p:grpSpPr>
        <a:xfrm>
          <a:off x="0" y="0"/>
          <a:ext cx="0" cy="0"/>
          <a:chOff x="0" y="0"/>
          <a:chExt cx="0" cy="0"/>
        </a:xfrm>
      </p:grpSpPr>
      <p:sp>
        <p:nvSpPr>
          <p:cNvPr id="2" name="Rectangle 17">
            <a:extLst>
              <a:ext uri="{FF2B5EF4-FFF2-40B4-BE49-F238E27FC236}">
                <a16:creationId xmlns:a16="http://schemas.microsoft.com/office/drawing/2014/main" id="{4FA81C08-3C0C-E523-D6E1-44107BDE7FC3}"/>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3" name="Title 2">
            <a:extLst>
              <a:ext uri="{FF2B5EF4-FFF2-40B4-BE49-F238E27FC236}">
                <a16:creationId xmlns:a16="http://schemas.microsoft.com/office/drawing/2014/main" id="{3935BF3A-8E79-4FD9-B573-7171D738C355}"/>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REASONS TO BECOME A PARTNER WITH TÜRKİYE</a:t>
            </a:r>
            <a:b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b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ROBUST ECONOMY</a:t>
            </a:r>
          </a:p>
        </p:txBody>
      </p:sp>
      <p:cxnSp>
        <p:nvCxnSpPr>
          <p:cNvPr id="4" name="Straight Connector 3">
            <a:extLst>
              <a:ext uri="{FF2B5EF4-FFF2-40B4-BE49-F238E27FC236}">
                <a16:creationId xmlns:a16="http://schemas.microsoft.com/office/drawing/2014/main" id="{5133F226-160D-2585-B671-B1B1F22F4A73}"/>
              </a:ext>
            </a:extLst>
          </p:cNvPr>
          <p:cNvCxnSpPr>
            <a:cxnSpLocks/>
          </p:cNvCxnSpPr>
          <p:nvPr/>
        </p:nvCxnSpPr>
        <p:spPr>
          <a:xfrm>
            <a:off x="174526" y="661400"/>
            <a:ext cx="8400514"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5" name="Resim 8">
            <a:extLst>
              <a:ext uri="{FF2B5EF4-FFF2-40B4-BE49-F238E27FC236}">
                <a16:creationId xmlns:a16="http://schemas.microsoft.com/office/drawing/2014/main" id="{1033A66F-F463-CE97-18F9-ECACBDFDB6E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 b="-647"/>
          <a:stretch/>
        </p:blipFill>
        <p:spPr>
          <a:xfrm>
            <a:off x="273075" y="1701888"/>
            <a:ext cx="4961865" cy="3860712"/>
          </a:xfrm>
          <a:prstGeom prst="rect">
            <a:avLst/>
          </a:prstGeom>
        </p:spPr>
      </p:pic>
      <p:pic>
        <p:nvPicPr>
          <p:cNvPr id="6" name="Resim 9">
            <a:extLst>
              <a:ext uri="{FF2B5EF4-FFF2-40B4-BE49-F238E27FC236}">
                <a16:creationId xmlns:a16="http://schemas.microsoft.com/office/drawing/2014/main" id="{56B7F962-4797-CCFA-E755-2216F4FC763A}"/>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4724017" y="2202180"/>
            <a:ext cx="7325360" cy="2912990"/>
          </a:xfrm>
          <a:prstGeom prst="rect">
            <a:avLst/>
          </a:prstGeom>
        </p:spPr>
      </p:pic>
    </p:spTree>
    <p:extLst>
      <p:ext uri="{BB962C8B-B14F-4D97-AF65-F5344CB8AC3E}">
        <p14:creationId xmlns:p14="http://schemas.microsoft.com/office/powerpoint/2010/main" val="1712944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73B725-C3D8-76DA-26CC-CE151AA60AD2}"/>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id="{98585F9F-F9C5-8E87-40B4-FD0494A8E9A7}"/>
              </a:ext>
            </a:extLst>
          </p:cNvPr>
          <p:cNvGraphicFramePr>
            <a:graphicFrameLocks noChangeAspect="1"/>
          </p:cNvGraphicFramePr>
          <p:nvPr>
            <p:custDataLst>
              <p:tags r:id="rId2"/>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name="think-cell Slide" r:id="rId6" imgW="606" imgH="608" progId="TCLayout.ActiveDocument.1">
                  <p:embed/>
                </p:oleObj>
              </mc:Choice>
              <mc:Fallback>
                <p:oleObj name="think-cell Slide" r:id="rId6" imgW="606" imgH="608" progId="TCLayout.ActiveDocument.1">
                  <p:embed/>
                  <p:pic>
                    <p:nvPicPr>
                      <p:cNvPr id="4" name="Object 3" hidden="1">
                        <a:extLst>
                          <a:ext uri="{FF2B5EF4-FFF2-40B4-BE49-F238E27FC236}">
                            <a16:creationId xmlns:a16="http://schemas.microsoft.com/office/drawing/2014/main" id="{98585F9F-F9C5-8E87-40B4-FD0494A8E9A7}"/>
                          </a:ext>
                        </a:extLst>
                      </p:cNvPr>
                      <p:cNvPicPr/>
                      <p:nvPr/>
                    </p:nvPicPr>
                    <p:blipFill>
                      <a:blip r:embed="rId7"/>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2ACB59E-B971-2CBA-2212-CF762FCBE185}"/>
              </a:ext>
            </a:extLst>
          </p:cNvPr>
          <p:cNvSpPr/>
          <p:nvPr>
            <p:custDataLst>
              <p:tags r:id="rId3"/>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id="{1673194E-52B9-72B3-6A2F-B09236705554}"/>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Workshop objectives</a:t>
            </a:r>
          </a:p>
        </p:txBody>
      </p:sp>
      <p:cxnSp>
        <p:nvCxnSpPr>
          <p:cNvPr id="2" name="Straight Connector 1">
            <a:extLst>
              <a:ext uri="{FF2B5EF4-FFF2-40B4-BE49-F238E27FC236}">
                <a16:creationId xmlns:a16="http://schemas.microsoft.com/office/drawing/2014/main" id="{D43F6339-6D63-1802-DE6B-214282F2A570}"/>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17">
            <a:extLst>
              <a:ext uri="{FF2B5EF4-FFF2-40B4-BE49-F238E27FC236}">
                <a16:creationId xmlns:a16="http://schemas.microsoft.com/office/drawing/2014/main" id="{F0CC72A9-B487-A5ED-F9F4-A85EE72021C0}"/>
              </a:ext>
            </a:extLst>
          </p:cNvPr>
          <p:cNvSpPr/>
          <p:nvPr/>
        </p:nvSpPr>
        <p:spPr>
          <a:xfrm rot="10800000">
            <a:off x="12056882" y="0"/>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9" name="Rectangle 8">
            <a:extLst>
              <a:ext uri="{FF2B5EF4-FFF2-40B4-BE49-F238E27FC236}">
                <a16:creationId xmlns:a16="http://schemas.microsoft.com/office/drawing/2014/main" id="{FBF7345D-CE74-3B50-28F0-E73381631D2B}"/>
              </a:ext>
            </a:extLst>
          </p:cNvPr>
          <p:cNvSpPr/>
          <p:nvPr/>
        </p:nvSpPr>
        <p:spPr>
          <a:xfrm>
            <a:off x="174526" y="959495"/>
            <a:ext cx="11730071" cy="3574761"/>
          </a:xfrm>
          <a:prstGeom prst="rect">
            <a:avLst/>
          </a:prstGeom>
        </p:spPr>
        <p:txBody>
          <a:bodyPr wrap="square">
            <a:spAutoFit/>
          </a:bodyPr>
          <a:lstStyle/>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Introducing the work team</a:t>
            </a:r>
          </a:p>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Introducing the participating private sector companies</a:t>
            </a:r>
          </a:p>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Giving an overview of the sustainable industrial partnership and its objectives</a:t>
            </a:r>
          </a:p>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Giving an overview of the advantages and incentives for investment in Qatar and Türkiye</a:t>
            </a:r>
          </a:p>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Collecting initial views from the private sector on opportunities for partnerships</a:t>
            </a:r>
          </a:p>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Agreeing on next steps</a:t>
            </a:r>
            <a:endParaRPr lang="ar-JO" sz="2000" b="1" dirty="0">
              <a:solidFill>
                <a:srgbClr val="817A6C"/>
              </a:solidFill>
              <a:latin typeface="Arial" panose="020B0604020202020204" pitchFamily="34" charset="0"/>
              <a:cs typeface="Arial" panose="020B0604020202020204" pitchFamily="34" charset="0"/>
            </a:endParaRPr>
          </a:p>
        </p:txBody>
      </p:sp>
    </p:spTree>
    <p:custDataLst>
      <p:custData r:id="rId1"/>
    </p:custDataLst>
    <p:extLst>
      <p:ext uri="{BB962C8B-B14F-4D97-AF65-F5344CB8AC3E}">
        <p14:creationId xmlns:p14="http://schemas.microsoft.com/office/powerpoint/2010/main" val="343608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AA4EC9-F5CF-C4A8-853A-99744A3F13BA}"/>
            </a:ext>
          </a:extLst>
        </p:cNvPr>
        <p:cNvGrpSpPr/>
        <p:nvPr/>
      </p:nvGrpSpPr>
      <p:grpSpPr>
        <a:xfrm>
          <a:off x="0" y="0"/>
          <a:ext cx="0" cy="0"/>
          <a:chOff x="0" y="0"/>
          <a:chExt cx="0" cy="0"/>
        </a:xfrm>
      </p:grpSpPr>
      <p:sp>
        <p:nvSpPr>
          <p:cNvPr id="2" name="Rectangle 17">
            <a:extLst>
              <a:ext uri="{FF2B5EF4-FFF2-40B4-BE49-F238E27FC236}">
                <a16:creationId xmlns:a16="http://schemas.microsoft.com/office/drawing/2014/main" id="{54A8FA3B-3B5B-9BA9-3C0C-5CE1DB78F205}"/>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3" name="Title 2">
            <a:extLst>
              <a:ext uri="{FF2B5EF4-FFF2-40B4-BE49-F238E27FC236}">
                <a16:creationId xmlns:a16="http://schemas.microsoft.com/office/drawing/2014/main" id="{FE9A17EB-F809-AC31-C125-84626A3AF7ED}"/>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INVESTMENT INCENTIVES ECOSYSTEM</a:t>
            </a:r>
          </a:p>
        </p:txBody>
      </p:sp>
      <p:cxnSp>
        <p:nvCxnSpPr>
          <p:cNvPr id="4" name="Straight Connector 3">
            <a:extLst>
              <a:ext uri="{FF2B5EF4-FFF2-40B4-BE49-F238E27FC236}">
                <a16:creationId xmlns:a16="http://schemas.microsoft.com/office/drawing/2014/main" id="{25247595-87B0-52A4-8357-A9DB22BDBFC2}"/>
              </a:ext>
            </a:extLst>
          </p:cNvPr>
          <p:cNvCxnSpPr>
            <a:cxnSpLocks/>
          </p:cNvCxnSpPr>
          <p:nvPr/>
        </p:nvCxnSpPr>
        <p:spPr>
          <a:xfrm>
            <a:off x="174526" y="661400"/>
            <a:ext cx="8400514"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5" name="Resim 5">
            <a:extLst>
              <a:ext uri="{FF2B5EF4-FFF2-40B4-BE49-F238E27FC236}">
                <a16:creationId xmlns:a16="http://schemas.microsoft.com/office/drawing/2014/main" id="{951CCBEA-C3BC-CD08-CCE5-2BDC3CBDE36C}"/>
              </a:ext>
            </a:extLst>
          </p:cNvPr>
          <p:cNvPicPr>
            <a:picLocks noChangeAspect="1"/>
          </p:cNvPicPr>
          <p:nvPr/>
        </p:nvPicPr>
        <p:blipFill>
          <a:blip r:embed="rId2" cstate="email">
            <a:duotone>
              <a:prstClr val="black"/>
              <a:srgbClr val="D9C3A5">
                <a:tint val="50000"/>
                <a:satMod val="180000"/>
              </a:srgbClr>
            </a:duotone>
            <a:extLst>
              <a:ext uri="{28A0092B-C50C-407E-A947-70E740481C1C}">
                <a14:useLocalDpi xmlns:a14="http://schemas.microsoft.com/office/drawing/2010/main"/>
              </a:ext>
            </a:extLst>
          </a:blip>
          <a:stretch>
            <a:fillRect/>
          </a:stretch>
        </p:blipFill>
        <p:spPr>
          <a:xfrm>
            <a:off x="-14644" y="1457922"/>
            <a:ext cx="7489006" cy="5034316"/>
          </a:xfrm>
          <a:prstGeom prst="rect">
            <a:avLst/>
          </a:prstGeom>
        </p:spPr>
      </p:pic>
      <p:sp>
        <p:nvSpPr>
          <p:cNvPr id="6" name="Dikdörtgen 6">
            <a:extLst>
              <a:ext uri="{FF2B5EF4-FFF2-40B4-BE49-F238E27FC236}">
                <a16:creationId xmlns:a16="http://schemas.microsoft.com/office/drawing/2014/main" id="{0D6E7716-DC3C-8330-2AD2-94D82C58A695}"/>
              </a:ext>
            </a:extLst>
          </p:cNvPr>
          <p:cNvSpPr/>
          <p:nvPr/>
        </p:nvSpPr>
        <p:spPr>
          <a:xfrm>
            <a:off x="7619689" y="1565419"/>
            <a:ext cx="3775142" cy="1863578"/>
          </a:xfrm>
          <a:prstGeom prst="rect">
            <a:avLst/>
          </a:prstGeom>
          <a:solidFill>
            <a:schemeClr val="bg1">
              <a:lumMod val="95000"/>
            </a:schemeClr>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800" dirty="0">
              <a:solidFill>
                <a:srgbClr val="817A6C"/>
              </a:solidFill>
              <a:latin typeface="Arial" panose="020B0604020202020204" pitchFamily="34" charset="0"/>
              <a:cs typeface="Arial" panose="020B0604020202020204" pitchFamily="34" charset="0"/>
            </a:endParaRPr>
          </a:p>
          <a:p>
            <a:pPr algn="ctr"/>
            <a:endParaRPr lang="en-US" sz="2000" b="1" dirty="0">
              <a:solidFill>
                <a:srgbClr val="817A6C"/>
              </a:solidFill>
              <a:latin typeface="Arial" panose="020B0604020202020204" pitchFamily="34" charset="0"/>
              <a:cs typeface="Arial" panose="020B0604020202020204" pitchFamily="34" charset="0"/>
            </a:endParaRPr>
          </a:p>
          <a:p>
            <a:pPr algn="ctr"/>
            <a:r>
              <a:rPr lang="en-US" sz="2000" b="1" dirty="0">
                <a:solidFill>
                  <a:srgbClr val="817A6C"/>
                </a:solidFill>
                <a:latin typeface="Arial" panose="020B0604020202020204" pitchFamily="34" charset="0"/>
                <a:cs typeface="Arial" panose="020B0604020202020204" pitchFamily="34" charset="0"/>
              </a:rPr>
              <a:t>EQUAL TREATMENT OF INTERNATIONAL AND LOCAL INVESTORS</a:t>
            </a:r>
          </a:p>
        </p:txBody>
      </p:sp>
      <p:pic>
        <p:nvPicPr>
          <p:cNvPr id="7" name="Resim 7">
            <a:extLst>
              <a:ext uri="{FF2B5EF4-FFF2-40B4-BE49-F238E27FC236}">
                <a16:creationId xmlns:a16="http://schemas.microsoft.com/office/drawing/2014/main" id="{00310260-0166-047E-8207-866294333148}"/>
              </a:ext>
            </a:extLst>
          </p:cNvPr>
          <p:cNvPicPr>
            <a:picLocks noChangeAspect="1"/>
          </p:cNvPicPr>
          <p:nvPr/>
        </p:nvPicPr>
        <p:blipFill>
          <a:blip r:embed="rId3"/>
          <a:stretch>
            <a:fillRect/>
          </a:stretch>
        </p:blipFill>
        <p:spPr>
          <a:xfrm>
            <a:off x="9032943" y="1273470"/>
            <a:ext cx="948634" cy="1223738"/>
          </a:xfrm>
          <a:prstGeom prst="rect">
            <a:avLst/>
          </a:prstGeom>
        </p:spPr>
      </p:pic>
      <p:sp>
        <p:nvSpPr>
          <p:cNvPr id="10" name="Dikdörtgen 6">
            <a:extLst>
              <a:ext uri="{FF2B5EF4-FFF2-40B4-BE49-F238E27FC236}">
                <a16:creationId xmlns:a16="http://schemas.microsoft.com/office/drawing/2014/main" id="{AC8EAED7-24FF-7BF5-CDDE-A0AAB06722E6}"/>
              </a:ext>
            </a:extLst>
          </p:cNvPr>
          <p:cNvSpPr/>
          <p:nvPr/>
        </p:nvSpPr>
        <p:spPr>
          <a:xfrm>
            <a:off x="7619689" y="3713872"/>
            <a:ext cx="3775142" cy="2625141"/>
          </a:xfrm>
          <a:prstGeom prst="rect">
            <a:avLst/>
          </a:prstGeom>
          <a:solidFill>
            <a:schemeClr val="bg1">
              <a:lumMod val="95000"/>
            </a:schemeClr>
          </a:solid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800" dirty="0">
              <a:solidFill>
                <a:srgbClr val="817A6C"/>
              </a:solidFill>
              <a:latin typeface="Arial" panose="020B0604020202020204" pitchFamily="34" charset="0"/>
              <a:cs typeface="Arial" panose="020B0604020202020204" pitchFamily="34" charset="0"/>
            </a:endParaRPr>
          </a:p>
          <a:p>
            <a:pPr algn="ctr"/>
            <a:endParaRPr lang="en-US" sz="2000" dirty="0">
              <a:solidFill>
                <a:srgbClr val="817A6C"/>
              </a:solidFill>
              <a:latin typeface="Arial" panose="020B0604020202020204" pitchFamily="34" charset="0"/>
              <a:cs typeface="Arial" panose="020B0604020202020204" pitchFamily="34" charset="0"/>
            </a:endParaRPr>
          </a:p>
          <a:p>
            <a:pPr algn="ctr"/>
            <a:endParaRPr lang="en-US" sz="2000" dirty="0">
              <a:solidFill>
                <a:srgbClr val="817A6C"/>
              </a:solidFill>
              <a:latin typeface="Arial" panose="020B0604020202020204" pitchFamily="34" charset="0"/>
              <a:cs typeface="Arial" panose="020B0604020202020204" pitchFamily="34" charset="0"/>
            </a:endParaRPr>
          </a:p>
          <a:p>
            <a:pPr algn="ctr"/>
            <a:r>
              <a:rPr lang="en-US" sz="2000" b="1" dirty="0">
                <a:solidFill>
                  <a:srgbClr val="817A6C"/>
                </a:solidFill>
                <a:latin typeface="Arial" panose="020B0604020202020204" pitchFamily="34" charset="0"/>
                <a:cs typeface="Arial" panose="020B0604020202020204" pitchFamily="34" charset="0"/>
              </a:rPr>
              <a:t>TAILORED AND COMPLETE PACKAGES FOR BOTH GREENFIELD AND BROWNFIELD PROJECTS IN MANUFACTURING, SERVICES, AND R&amp;D</a:t>
            </a:r>
          </a:p>
        </p:txBody>
      </p:sp>
      <p:pic>
        <p:nvPicPr>
          <p:cNvPr id="9" name="Picture 2" descr="TAILORED AND COMPLETE PACKAGES FOR BOTH GREENFIELD AND BROWNFIELD PROJECTS IN MANUFACTURING, SERVICES, AND R&amp;D.">
            <a:extLst>
              <a:ext uri="{FF2B5EF4-FFF2-40B4-BE49-F238E27FC236}">
                <a16:creationId xmlns:a16="http://schemas.microsoft.com/office/drawing/2014/main" id="{6796EF2A-F3D4-4229-41B4-2BAB424AB25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004888" y="3588603"/>
            <a:ext cx="891468" cy="1149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615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F8C5F6-D2F0-80B1-4D7D-8FAE88111C1C}"/>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959C68D6-9F76-57E2-0105-6F0CB44C36DE}"/>
              </a:ext>
            </a:extLst>
          </p:cNvPr>
          <p:cNvPicPr>
            <a:picLocks noChangeAspect="1"/>
          </p:cNvPicPr>
          <p:nvPr/>
        </p:nvPicPr>
        <p:blipFill>
          <a:blip r:embed="rId2" cstate="email">
            <a:duotone>
              <a:prstClr val="black"/>
              <a:schemeClr val="tx1">
                <a:tint val="45000"/>
                <a:satMod val="400000"/>
              </a:schemeClr>
            </a:duotone>
            <a:extLst>
              <a:ext uri="{BEBA8EAE-BF5A-486C-A8C5-ECC9F3942E4B}">
                <a14:imgProps xmlns:a14="http://schemas.microsoft.com/office/drawing/2010/main">
                  <a14:imgLayer r:embed="rId3">
                    <a14:imgEffect>
                      <a14:brightnessContrast contrast="-100000"/>
                    </a14:imgEffect>
                  </a14:imgLayer>
                </a14:imgProps>
              </a:ext>
              <a:ext uri="{28A0092B-C50C-407E-A947-70E740481C1C}">
                <a14:useLocalDpi xmlns:a14="http://schemas.microsoft.com/office/drawing/2010/main"/>
              </a:ext>
            </a:extLst>
          </a:blip>
          <a:stretch>
            <a:fillRect/>
          </a:stretch>
        </p:blipFill>
        <p:spPr>
          <a:xfrm>
            <a:off x="-701954" y="-175295"/>
            <a:ext cx="4755794" cy="2675134"/>
          </a:xfrm>
          <a:prstGeom prst="rect">
            <a:avLst/>
          </a:prstGeom>
          <a:solidFill>
            <a:schemeClr val="accent1">
              <a:alpha val="0"/>
            </a:schemeClr>
          </a:solidFill>
        </p:spPr>
      </p:pic>
      <p:pic>
        <p:nvPicPr>
          <p:cNvPr id="6" name="Graphic 26">
            <a:extLst>
              <a:ext uri="{FF2B5EF4-FFF2-40B4-BE49-F238E27FC236}">
                <a16:creationId xmlns:a16="http://schemas.microsoft.com/office/drawing/2014/main" id="{A9C934A5-3A48-EBBC-76C5-D9A420E469B4}"/>
              </a:ext>
            </a:extLst>
          </p:cNvPr>
          <p:cNvPicPr>
            <a:picLocks noChangeAspect="1"/>
          </p:cNvPicPr>
          <p:nvPr/>
        </p:nvPicPr>
        <p:blipFill>
          <a:blip r:embed="rId4">
            <a:duotone>
              <a:prstClr val="black"/>
              <a:schemeClr val="tx1">
                <a:tint val="45000"/>
                <a:satMod val="400000"/>
              </a:schemeClr>
            </a:duotone>
            <a:lum contrast="-100000"/>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16945" y="1701148"/>
            <a:ext cx="1017397" cy="1017397"/>
          </a:xfrm>
          <a:prstGeom prst="rect">
            <a:avLst/>
          </a:prstGeom>
        </p:spPr>
      </p:pic>
      <p:pic>
        <p:nvPicPr>
          <p:cNvPr id="7" name="Graphic 33">
            <a:extLst>
              <a:ext uri="{FF2B5EF4-FFF2-40B4-BE49-F238E27FC236}">
                <a16:creationId xmlns:a16="http://schemas.microsoft.com/office/drawing/2014/main" id="{BEAEFDF9-90A3-8606-CB23-B246E04C1357}"/>
              </a:ext>
            </a:extLst>
          </p:cNvPr>
          <p:cNvPicPr>
            <a:picLocks noChangeAspect="1"/>
          </p:cNvPicPr>
          <p:nvPr/>
        </p:nvPicPr>
        <p:blipFill>
          <a:blip r:embed="rId6">
            <a:duotone>
              <a:prstClr val="black"/>
              <a:schemeClr val="tx1">
                <a:tint val="45000"/>
                <a:satMod val="400000"/>
              </a:schemeClr>
            </a:duotone>
            <a:lum contrast="-100000"/>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020679" y="1792719"/>
            <a:ext cx="875789" cy="875789"/>
          </a:xfrm>
          <a:prstGeom prst="rect">
            <a:avLst/>
          </a:prstGeom>
        </p:spPr>
      </p:pic>
      <p:pic>
        <p:nvPicPr>
          <p:cNvPr id="8" name="Graphic 35">
            <a:extLst>
              <a:ext uri="{FF2B5EF4-FFF2-40B4-BE49-F238E27FC236}">
                <a16:creationId xmlns:a16="http://schemas.microsoft.com/office/drawing/2014/main" id="{759F3D08-A949-F85E-201A-AAD235769D30}"/>
              </a:ext>
            </a:extLst>
          </p:cNvPr>
          <p:cNvPicPr>
            <a:picLocks noChangeAspect="1"/>
          </p:cNvPicPr>
          <p:nvPr/>
        </p:nvPicPr>
        <p:blipFill>
          <a:blip r:embed="rId8">
            <a:duotone>
              <a:prstClr val="black"/>
              <a:schemeClr val="tx1">
                <a:tint val="45000"/>
                <a:satMod val="400000"/>
              </a:schemeClr>
            </a:duotone>
            <a:lum contrast="-100000"/>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990359" y="1826051"/>
            <a:ext cx="931749" cy="931749"/>
          </a:xfrm>
          <a:prstGeom prst="rect">
            <a:avLst/>
          </a:prstGeom>
        </p:spPr>
      </p:pic>
      <p:pic>
        <p:nvPicPr>
          <p:cNvPr id="9" name="Graphic 37">
            <a:extLst>
              <a:ext uri="{FF2B5EF4-FFF2-40B4-BE49-F238E27FC236}">
                <a16:creationId xmlns:a16="http://schemas.microsoft.com/office/drawing/2014/main" id="{C1D7F81C-4287-2D7D-50F8-2D22C0423659}"/>
              </a:ext>
            </a:extLst>
          </p:cNvPr>
          <p:cNvPicPr>
            <a:picLocks noChangeAspect="1"/>
          </p:cNvPicPr>
          <p:nvPr/>
        </p:nvPicPr>
        <p:blipFill>
          <a:blip r:embed="rId10">
            <a:duotone>
              <a:prstClr val="black"/>
              <a:schemeClr val="tx1">
                <a:tint val="45000"/>
                <a:satMod val="400000"/>
              </a:schemeClr>
            </a:duotone>
            <a:lum contrast="-10000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96815" y="1924743"/>
            <a:ext cx="746252" cy="746252"/>
          </a:xfrm>
          <a:prstGeom prst="rect">
            <a:avLst/>
          </a:prstGeom>
        </p:spPr>
      </p:pic>
      <p:sp>
        <p:nvSpPr>
          <p:cNvPr id="10" name="TextBox 38">
            <a:extLst>
              <a:ext uri="{FF2B5EF4-FFF2-40B4-BE49-F238E27FC236}">
                <a16:creationId xmlns:a16="http://schemas.microsoft.com/office/drawing/2014/main" id="{A0AB4582-08A2-9799-D589-09EB28D9DE4D}"/>
              </a:ext>
            </a:extLst>
          </p:cNvPr>
          <p:cNvSpPr txBox="1"/>
          <p:nvPr/>
        </p:nvSpPr>
        <p:spPr>
          <a:xfrm>
            <a:off x="2524935" y="2614216"/>
            <a:ext cx="2401415" cy="307777"/>
          </a:xfrm>
          <a:prstGeom prst="rect">
            <a:avLst/>
          </a:prstGeom>
          <a:noFill/>
        </p:spPr>
        <p:txBody>
          <a:bodyPr wrap="square" rtlCol="0">
            <a:spAutoFit/>
          </a:bodyPr>
          <a:lstStyle/>
          <a:p>
            <a:pPr algn="ctr"/>
            <a:r>
              <a:rPr lang="tr-TR" sz="1400" dirty="0">
                <a:solidFill>
                  <a:srgbClr val="817A6C"/>
                </a:solidFill>
                <a:latin typeface="Arial" panose="020B0604020202020204" pitchFamily="34" charset="0"/>
                <a:cs typeface="Arial" panose="020B0604020202020204" pitchFamily="34" charset="0"/>
              </a:rPr>
              <a:t>Digital Technologies</a:t>
            </a:r>
          </a:p>
        </p:txBody>
      </p:sp>
      <p:sp>
        <p:nvSpPr>
          <p:cNvPr id="11" name="TextBox 39">
            <a:extLst>
              <a:ext uri="{FF2B5EF4-FFF2-40B4-BE49-F238E27FC236}">
                <a16:creationId xmlns:a16="http://schemas.microsoft.com/office/drawing/2014/main" id="{570A3631-F412-D9CD-57E6-EDE6C56F843C}"/>
              </a:ext>
            </a:extLst>
          </p:cNvPr>
          <p:cNvSpPr txBox="1"/>
          <p:nvPr/>
        </p:nvSpPr>
        <p:spPr>
          <a:xfrm>
            <a:off x="4618134" y="1286833"/>
            <a:ext cx="1876390" cy="307777"/>
          </a:xfrm>
          <a:prstGeom prst="rect">
            <a:avLst/>
          </a:prstGeom>
          <a:noFill/>
        </p:spPr>
        <p:txBody>
          <a:bodyPr wrap="square" rtlCol="0">
            <a:spAutoFit/>
          </a:bodyPr>
          <a:lstStyle/>
          <a:p>
            <a:pPr algn="ctr"/>
            <a:r>
              <a:rPr lang="tr-TR" sz="1400" dirty="0" err="1">
                <a:solidFill>
                  <a:srgbClr val="817A6C"/>
                </a:solidFill>
                <a:latin typeface="Arial" panose="020B0604020202020204" pitchFamily="34" charset="0"/>
                <a:cs typeface="Arial" panose="020B0604020202020204" pitchFamily="34" charset="0"/>
              </a:rPr>
              <a:t>Healthy</a:t>
            </a:r>
            <a:r>
              <a:rPr lang="tr-TR" sz="1400" dirty="0">
                <a:solidFill>
                  <a:srgbClr val="817A6C"/>
                </a:solidFill>
                <a:latin typeface="Arial" panose="020B0604020202020204" pitchFamily="34" charset="0"/>
                <a:cs typeface="Arial" panose="020B0604020202020204" pitchFamily="34" charset="0"/>
              </a:rPr>
              <a:t> </a:t>
            </a:r>
            <a:r>
              <a:rPr lang="tr-TR" sz="1400" dirty="0" err="1">
                <a:solidFill>
                  <a:srgbClr val="817A6C"/>
                </a:solidFill>
                <a:latin typeface="Arial" panose="020B0604020202020204" pitchFamily="34" charset="0"/>
                <a:cs typeface="Arial" panose="020B0604020202020204" pitchFamily="34" charset="0"/>
              </a:rPr>
              <a:t>Living</a:t>
            </a:r>
            <a:endParaRPr lang="tr-TR" sz="1400" dirty="0">
              <a:solidFill>
                <a:srgbClr val="817A6C"/>
              </a:solidFill>
              <a:latin typeface="Arial" panose="020B0604020202020204" pitchFamily="34" charset="0"/>
              <a:cs typeface="Arial" panose="020B0604020202020204" pitchFamily="34" charset="0"/>
            </a:endParaRPr>
          </a:p>
        </p:txBody>
      </p:sp>
      <p:sp>
        <p:nvSpPr>
          <p:cNvPr id="12" name="TextBox 40">
            <a:extLst>
              <a:ext uri="{FF2B5EF4-FFF2-40B4-BE49-F238E27FC236}">
                <a16:creationId xmlns:a16="http://schemas.microsoft.com/office/drawing/2014/main" id="{F8087900-6C38-2F66-9E89-4A90B6C17248}"/>
              </a:ext>
            </a:extLst>
          </p:cNvPr>
          <p:cNvSpPr txBox="1"/>
          <p:nvPr/>
        </p:nvSpPr>
        <p:spPr>
          <a:xfrm>
            <a:off x="6279423" y="1260203"/>
            <a:ext cx="2214401" cy="523220"/>
          </a:xfrm>
          <a:prstGeom prst="rect">
            <a:avLst/>
          </a:prstGeom>
          <a:noFill/>
        </p:spPr>
        <p:txBody>
          <a:bodyPr wrap="square" rtlCol="0">
            <a:spAutoFit/>
          </a:bodyPr>
          <a:lstStyle/>
          <a:p>
            <a:pPr algn="ctr"/>
            <a:r>
              <a:rPr lang="tr-TR" sz="1400" dirty="0">
                <a:solidFill>
                  <a:srgbClr val="817A6C"/>
                </a:solidFill>
                <a:latin typeface="Arial" panose="020B0604020202020204" pitchFamily="34" charset="0"/>
                <a:cs typeface="Arial" panose="020B0604020202020204" pitchFamily="34" charset="0"/>
              </a:rPr>
              <a:t>Communication </a:t>
            </a:r>
            <a:endParaRPr lang="en-US" sz="1400" dirty="0">
              <a:solidFill>
                <a:srgbClr val="817A6C"/>
              </a:solidFill>
              <a:latin typeface="Arial" panose="020B0604020202020204" pitchFamily="34" charset="0"/>
              <a:cs typeface="Arial" panose="020B0604020202020204" pitchFamily="34" charset="0"/>
            </a:endParaRPr>
          </a:p>
          <a:p>
            <a:pPr algn="ctr"/>
            <a:r>
              <a:rPr lang="tr-TR" sz="1400" dirty="0">
                <a:solidFill>
                  <a:srgbClr val="817A6C"/>
                </a:solidFill>
                <a:latin typeface="Arial" panose="020B0604020202020204" pitchFamily="34" charset="0"/>
                <a:cs typeface="Arial" panose="020B0604020202020204" pitchFamily="34" charset="0"/>
              </a:rPr>
              <a:t>and Space</a:t>
            </a:r>
          </a:p>
        </p:txBody>
      </p:sp>
      <p:sp>
        <p:nvSpPr>
          <p:cNvPr id="13" name="TextBox 42">
            <a:extLst>
              <a:ext uri="{FF2B5EF4-FFF2-40B4-BE49-F238E27FC236}">
                <a16:creationId xmlns:a16="http://schemas.microsoft.com/office/drawing/2014/main" id="{281393DB-992A-14E9-1F02-C0B5B9901404}"/>
              </a:ext>
            </a:extLst>
          </p:cNvPr>
          <p:cNvSpPr txBox="1"/>
          <p:nvPr/>
        </p:nvSpPr>
        <p:spPr>
          <a:xfrm>
            <a:off x="4678246" y="2610350"/>
            <a:ext cx="1816278" cy="307777"/>
          </a:xfrm>
          <a:prstGeom prst="rect">
            <a:avLst/>
          </a:prstGeom>
          <a:noFill/>
        </p:spPr>
        <p:txBody>
          <a:bodyPr wrap="square" rtlCol="0">
            <a:spAutoFit/>
          </a:bodyPr>
          <a:lstStyle/>
          <a:p>
            <a:pPr algn="ctr"/>
            <a:r>
              <a:rPr lang="tr-TR" sz="1400" dirty="0" err="1">
                <a:solidFill>
                  <a:srgbClr val="817A6C"/>
                </a:solidFill>
                <a:latin typeface="Arial" panose="020B0604020202020204" pitchFamily="34" charset="0"/>
                <a:cs typeface="Arial" panose="020B0604020202020204" pitchFamily="34" charset="0"/>
              </a:rPr>
              <a:t>Semiconductors</a:t>
            </a:r>
            <a:endParaRPr lang="tr-TR" sz="1400" dirty="0">
              <a:solidFill>
                <a:srgbClr val="817A6C"/>
              </a:solidFill>
              <a:latin typeface="Arial" panose="020B0604020202020204" pitchFamily="34" charset="0"/>
              <a:cs typeface="Arial" panose="020B0604020202020204" pitchFamily="34" charset="0"/>
            </a:endParaRPr>
          </a:p>
        </p:txBody>
      </p:sp>
      <p:sp>
        <p:nvSpPr>
          <p:cNvPr id="14" name="TextBox 43">
            <a:extLst>
              <a:ext uri="{FF2B5EF4-FFF2-40B4-BE49-F238E27FC236}">
                <a16:creationId xmlns:a16="http://schemas.microsoft.com/office/drawing/2014/main" id="{3641B3B5-C2AB-F6F6-CBF0-14F970160127}"/>
              </a:ext>
            </a:extLst>
          </p:cNvPr>
          <p:cNvSpPr txBox="1"/>
          <p:nvPr/>
        </p:nvSpPr>
        <p:spPr>
          <a:xfrm>
            <a:off x="6713257" y="2610350"/>
            <a:ext cx="1485951" cy="307777"/>
          </a:xfrm>
          <a:prstGeom prst="rect">
            <a:avLst/>
          </a:prstGeom>
          <a:noFill/>
        </p:spPr>
        <p:txBody>
          <a:bodyPr wrap="square" rtlCol="0">
            <a:spAutoFit/>
          </a:bodyPr>
          <a:lstStyle/>
          <a:p>
            <a:pPr algn="ctr"/>
            <a:r>
              <a:rPr lang="tr-TR" sz="1400" dirty="0">
                <a:solidFill>
                  <a:srgbClr val="817A6C"/>
                </a:solidFill>
                <a:latin typeface="Arial" panose="020B0604020202020204" pitchFamily="34" charset="0"/>
                <a:cs typeface="Arial" panose="020B0604020202020204" pitchFamily="34" charset="0"/>
              </a:rPr>
              <a:t>Green Energy</a:t>
            </a:r>
          </a:p>
        </p:txBody>
      </p:sp>
      <p:sp>
        <p:nvSpPr>
          <p:cNvPr id="15" name="TextBox 44">
            <a:extLst>
              <a:ext uri="{FF2B5EF4-FFF2-40B4-BE49-F238E27FC236}">
                <a16:creationId xmlns:a16="http://schemas.microsoft.com/office/drawing/2014/main" id="{1B405BA3-361E-FD48-25AE-C272F34E50B3}"/>
              </a:ext>
            </a:extLst>
          </p:cNvPr>
          <p:cNvSpPr txBox="1"/>
          <p:nvPr/>
        </p:nvSpPr>
        <p:spPr>
          <a:xfrm>
            <a:off x="2905761" y="1279869"/>
            <a:ext cx="1713442" cy="307777"/>
          </a:xfrm>
          <a:prstGeom prst="rect">
            <a:avLst/>
          </a:prstGeom>
          <a:noFill/>
        </p:spPr>
        <p:txBody>
          <a:bodyPr wrap="square" rtlCol="0">
            <a:spAutoFit/>
          </a:bodyPr>
          <a:lstStyle/>
          <a:p>
            <a:pPr algn="ctr"/>
            <a:r>
              <a:rPr lang="tr-TR" sz="1400" dirty="0" err="1">
                <a:solidFill>
                  <a:srgbClr val="817A6C"/>
                </a:solidFill>
                <a:latin typeface="Arial" panose="020B0604020202020204" pitchFamily="34" charset="0"/>
                <a:cs typeface="Arial" panose="020B0604020202020204" pitchFamily="34" charset="0"/>
              </a:rPr>
              <a:t>Mobility</a:t>
            </a:r>
            <a:endParaRPr lang="tr-TR" sz="1400" dirty="0">
              <a:solidFill>
                <a:srgbClr val="817A6C"/>
              </a:solidFill>
              <a:latin typeface="Arial" panose="020B0604020202020204" pitchFamily="34" charset="0"/>
              <a:cs typeface="Arial" panose="020B0604020202020204" pitchFamily="34" charset="0"/>
            </a:endParaRPr>
          </a:p>
        </p:txBody>
      </p:sp>
      <p:pic>
        <p:nvPicPr>
          <p:cNvPr id="16" name="Graphic 18">
            <a:extLst>
              <a:ext uri="{FF2B5EF4-FFF2-40B4-BE49-F238E27FC236}">
                <a16:creationId xmlns:a16="http://schemas.microsoft.com/office/drawing/2014/main" id="{38A96C80-B4EC-AA02-6796-2B9BF42A843B}"/>
              </a:ext>
            </a:extLst>
          </p:cNvPr>
          <p:cNvPicPr>
            <a:picLocks noChangeAspect="1"/>
          </p:cNvPicPr>
          <p:nvPr/>
        </p:nvPicPr>
        <p:blipFill>
          <a:blip r:embed="rId12">
            <a:duotone>
              <a:prstClr val="black"/>
              <a:schemeClr val="tx1">
                <a:tint val="45000"/>
                <a:satMod val="400000"/>
              </a:schemeClr>
            </a:duotone>
            <a:lum contrast="-100000"/>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174520" y="407620"/>
            <a:ext cx="889014" cy="889014"/>
          </a:xfrm>
          <a:prstGeom prst="rect">
            <a:avLst/>
          </a:prstGeom>
        </p:spPr>
      </p:pic>
      <p:pic>
        <p:nvPicPr>
          <p:cNvPr id="17" name="Graphic 22">
            <a:extLst>
              <a:ext uri="{FF2B5EF4-FFF2-40B4-BE49-F238E27FC236}">
                <a16:creationId xmlns:a16="http://schemas.microsoft.com/office/drawing/2014/main" id="{CB203F7C-B953-B83D-E7EE-44AF77905311}"/>
              </a:ext>
            </a:extLst>
          </p:cNvPr>
          <p:cNvPicPr>
            <a:picLocks noChangeAspect="1"/>
          </p:cNvPicPr>
          <p:nvPr/>
        </p:nvPicPr>
        <p:blipFill>
          <a:blip r:embed="rId14">
            <a:duotone>
              <a:prstClr val="black"/>
              <a:schemeClr val="tx1">
                <a:tint val="45000"/>
                <a:satMod val="400000"/>
              </a:schemeClr>
            </a:duotone>
            <a:lum contrast="-100000"/>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990359" y="446739"/>
            <a:ext cx="865474" cy="865474"/>
          </a:xfrm>
          <a:prstGeom prst="rect">
            <a:avLst/>
          </a:prstGeom>
        </p:spPr>
      </p:pic>
      <p:pic>
        <p:nvPicPr>
          <p:cNvPr id="18" name="Graphic 16">
            <a:extLst>
              <a:ext uri="{FF2B5EF4-FFF2-40B4-BE49-F238E27FC236}">
                <a16:creationId xmlns:a16="http://schemas.microsoft.com/office/drawing/2014/main" id="{7D8AA322-4FBC-85A4-D6A5-5A6ADB10751A}"/>
              </a:ext>
            </a:extLst>
          </p:cNvPr>
          <p:cNvPicPr>
            <a:picLocks noChangeAspect="1"/>
          </p:cNvPicPr>
          <p:nvPr/>
        </p:nvPicPr>
        <p:blipFill>
          <a:blip r:embed="rId16">
            <a:duotone>
              <a:prstClr val="black"/>
              <a:schemeClr val="tx1">
                <a:tint val="45000"/>
                <a:satMod val="400000"/>
              </a:schemeClr>
            </a:duotone>
            <a:lum contrast="-100000"/>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315946" y="368889"/>
            <a:ext cx="966474" cy="966474"/>
          </a:xfrm>
          <a:prstGeom prst="rect">
            <a:avLst/>
          </a:prstGeom>
        </p:spPr>
      </p:pic>
      <p:pic>
        <p:nvPicPr>
          <p:cNvPr id="19" name="Graphic 24">
            <a:extLst>
              <a:ext uri="{FF2B5EF4-FFF2-40B4-BE49-F238E27FC236}">
                <a16:creationId xmlns:a16="http://schemas.microsoft.com/office/drawing/2014/main" id="{1F96113F-C2D1-A569-ACC8-5ED5876F1BB9}"/>
              </a:ext>
            </a:extLst>
          </p:cNvPr>
          <p:cNvPicPr>
            <a:picLocks noChangeAspect="1"/>
          </p:cNvPicPr>
          <p:nvPr/>
        </p:nvPicPr>
        <p:blipFill>
          <a:blip r:embed="rId18">
            <a:duotone>
              <a:prstClr val="black"/>
              <a:schemeClr val="tx1">
                <a:tint val="45000"/>
                <a:satMod val="400000"/>
              </a:schemeClr>
            </a:duotone>
            <a:lum contrast="-100000"/>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004087" y="426514"/>
            <a:ext cx="983652" cy="983652"/>
          </a:xfrm>
          <a:prstGeom prst="rect">
            <a:avLst/>
          </a:prstGeom>
        </p:spPr>
      </p:pic>
      <p:pic>
        <p:nvPicPr>
          <p:cNvPr id="20" name="Resim 183">
            <a:extLst>
              <a:ext uri="{FF2B5EF4-FFF2-40B4-BE49-F238E27FC236}">
                <a16:creationId xmlns:a16="http://schemas.microsoft.com/office/drawing/2014/main" id="{03B54974-41C7-5264-9420-8A5D15EC5D9A}"/>
              </a:ext>
            </a:extLst>
          </p:cNvPr>
          <p:cNvPicPr>
            <a:picLocks noChangeAspect="1"/>
          </p:cNvPicPr>
          <p:nvPr/>
        </p:nvPicPr>
        <p:blipFill>
          <a:blip r:embed="rId20">
            <a:duotone>
              <a:prstClr val="black"/>
              <a:schemeClr val="accent3">
                <a:tint val="45000"/>
                <a:satMod val="400000"/>
              </a:schemeClr>
            </a:duotone>
            <a:lum contrast="-100000"/>
          </a:blip>
          <a:stretch>
            <a:fillRect/>
          </a:stretch>
        </p:blipFill>
        <p:spPr>
          <a:xfrm>
            <a:off x="779294" y="3089723"/>
            <a:ext cx="1711739" cy="1597564"/>
          </a:xfrm>
          <a:prstGeom prst="rect">
            <a:avLst/>
          </a:prstGeom>
          <a:noFill/>
          <a:ln>
            <a:noFill/>
          </a:ln>
        </p:spPr>
      </p:pic>
      <p:sp>
        <p:nvSpPr>
          <p:cNvPr id="21" name="Dikdörtgen 188">
            <a:extLst>
              <a:ext uri="{FF2B5EF4-FFF2-40B4-BE49-F238E27FC236}">
                <a16:creationId xmlns:a16="http://schemas.microsoft.com/office/drawing/2014/main" id="{DF008634-B4D5-5CB8-8D1F-9E06C52BB8E1}"/>
              </a:ext>
            </a:extLst>
          </p:cNvPr>
          <p:cNvSpPr/>
          <p:nvPr/>
        </p:nvSpPr>
        <p:spPr>
          <a:xfrm>
            <a:off x="2486150" y="3327521"/>
            <a:ext cx="9008418" cy="1074648"/>
          </a:xfrm>
          <a:prstGeom prst="rect">
            <a:avLst/>
          </a:prstGeom>
          <a:no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lIns="432000" rIns="288000" rtlCol="0" anchor="ctr"/>
          <a:lstStyle/>
          <a:p>
            <a:pPr algn="ctr"/>
            <a:endParaRPr lang="tr-TR" sz="3200" dirty="0">
              <a:solidFill>
                <a:schemeClr val="tx1"/>
              </a:solidFill>
              <a:latin typeface="Arial" panose="020B0604020202020204" pitchFamily="34" charset="0"/>
              <a:cs typeface="Arial" panose="020B0604020202020204" pitchFamily="34" charset="0"/>
            </a:endParaRPr>
          </a:p>
          <a:p>
            <a:pPr algn="ctr"/>
            <a:endParaRPr lang="tr-TR" sz="4400" dirty="0">
              <a:solidFill>
                <a:schemeClr val="tx1"/>
              </a:solidFill>
            </a:endParaRPr>
          </a:p>
        </p:txBody>
      </p:sp>
      <p:sp>
        <p:nvSpPr>
          <p:cNvPr id="22" name="Dikdörtgen 190">
            <a:extLst>
              <a:ext uri="{FF2B5EF4-FFF2-40B4-BE49-F238E27FC236}">
                <a16:creationId xmlns:a16="http://schemas.microsoft.com/office/drawing/2014/main" id="{34BFF662-F2DC-8E11-3DB2-CFB78D686ECB}"/>
              </a:ext>
            </a:extLst>
          </p:cNvPr>
          <p:cNvSpPr/>
          <p:nvPr/>
        </p:nvSpPr>
        <p:spPr>
          <a:xfrm>
            <a:off x="2416384" y="4972404"/>
            <a:ext cx="4255395" cy="1846659"/>
          </a:xfrm>
          <a:prstGeom prst="rect">
            <a:avLst/>
          </a:prstGeom>
        </p:spPr>
        <p:txBody>
          <a:bodyPr wrap="square">
            <a:spAutoFit/>
          </a:bodyPr>
          <a:lstStyle/>
          <a:p>
            <a:pPr>
              <a:spcBef>
                <a:spcPts val="1200"/>
              </a:spcBef>
            </a:pPr>
            <a:r>
              <a:rPr lang="tr-TR" sz="1400" u="sng" dirty="0">
                <a:solidFill>
                  <a:srgbClr val="817A6C"/>
                </a:solidFill>
                <a:latin typeface="Arial" panose="020B0604020202020204" pitchFamily="34" charset="0"/>
                <a:cs typeface="Arial" panose="020B0604020202020204" pitchFamily="34" charset="0"/>
              </a:rPr>
              <a:t>Program Characteristics</a:t>
            </a:r>
          </a:p>
          <a:p>
            <a:pPr marL="571500" indent="-571500">
              <a:spcBef>
                <a:spcPts val="1200"/>
              </a:spcBef>
              <a:buFont typeface="Wingdings" panose="05000000000000000000" pitchFamily="2" charset="2"/>
              <a:buChar char="Ø"/>
            </a:pPr>
            <a:r>
              <a:rPr lang="tr-TR" sz="1400" dirty="0">
                <a:solidFill>
                  <a:srgbClr val="817A6C"/>
                </a:solidFill>
                <a:latin typeface="Arial" panose="020B0604020202020204" pitchFamily="34" charset="0"/>
                <a:cs typeface="Arial" panose="020B0604020202020204" pitchFamily="34" charset="0"/>
              </a:rPr>
              <a:t>High incentive intensity</a:t>
            </a:r>
          </a:p>
          <a:p>
            <a:pPr marL="571500" indent="-571500">
              <a:spcBef>
                <a:spcPts val="1200"/>
              </a:spcBef>
              <a:buFont typeface="Wingdings" panose="05000000000000000000" pitchFamily="2" charset="2"/>
              <a:buChar char="Ø"/>
            </a:pPr>
            <a:r>
              <a:rPr lang="tr-TR" sz="1400" dirty="0">
                <a:solidFill>
                  <a:srgbClr val="817A6C"/>
                </a:solidFill>
                <a:latin typeface="Arial" panose="020B0604020202020204" pitchFamily="34" charset="0"/>
                <a:cs typeface="Arial" panose="020B0604020202020204" pitchFamily="34" charset="0"/>
              </a:rPr>
              <a:t>Fixed support package</a:t>
            </a:r>
            <a:endParaRPr lang="tr-TR" sz="800" dirty="0">
              <a:solidFill>
                <a:srgbClr val="817A6C"/>
              </a:solidFill>
              <a:latin typeface="Arial" panose="020B0604020202020204" pitchFamily="34" charset="0"/>
              <a:cs typeface="Arial" panose="020B0604020202020204" pitchFamily="34" charset="0"/>
            </a:endParaRPr>
          </a:p>
          <a:p>
            <a:pPr marL="571500" indent="-571500">
              <a:spcBef>
                <a:spcPts val="1200"/>
              </a:spcBef>
              <a:buFont typeface="Wingdings" panose="05000000000000000000" pitchFamily="2" charset="2"/>
              <a:buChar char="Ø"/>
            </a:pPr>
            <a:r>
              <a:rPr lang="tr-TR" sz="1400" dirty="0">
                <a:solidFill>
                  <a:srgbClr val="817A6C"/>
                </a:solidFill>
                <a:latin typeface="Arial" panose="020B0604020202020204" pitchFamily="34" charset="0"/>
                <a:cs typeface="Arial" panose="020B0604020202020204" pitchFamily="34" charset="0"/>
              </a:rPr>
              <a:t>Focused investment areas</a:t>
            </a:r>
          </a:p>
          <a:p>
            <a:pPr marL="571500" indent="-571500">
              <a:spcBef>
                <a:spcPts val="1200"/>
              </a:spcBef>
              <a:buFont typeface="Wingdings" panose="05000000000000000000" pitchFamily="2" charset="2"/>
              <a:buChar char="Ø"/>
            </a:pPr>
            <a:r>
              <a:rPr lang="tr-TR" sz="1400" dirty="0">
                <a:solidFill>
                  <a:srgbClr val="817A6C"/>
                </a:solidFill>
                <a:latin typeface="Arial" panose="020B0604020202020204" pitchFamily="34" charset="0"/>
                <a:cs typeface="Arial" panose="020B0604020202020204" pitchFamily="34" charset="0"/>
              </a:rPr>
              <a:t>Relatively smaller project scale</a:t>
            </a:r>
          </a:p>
        </p:txBody>
      </p:sp>
      <p:sp>
        <p:nvSpPr>
          <p:cNvPr id="23" name="Dikdörtgen 191">
            <a:extLst>
              <a:ext uri="{FF2B5EF4-FFF2-40B4-BE49-F238E27FC236}">
                <a16:creationId xmlns:a16="http://schemas.microsoft.com/office/drawing/2014/main" id="{4972DFA1-102A-E08B-80C3-09BA9F26AE17}"/>
              </a:ext>
            </a:extLst>
          </p:cNvPr>
          <p:cNvSpPr/>
          <p:nvPr/>
        </p:nvSpPr>
        <p:spPr>
          <a:xfrm>
            <a:off x="6330376" y="4981351"/>
            <a:ext cx="3883227" cy="1415772"/>
          </a:xfrm>
          <a:prstGeom prst="rect">
            <a:avLst/>
          </a:prstGeom>
        </p:spPr>
        <p:txBody>
          <a:bodyPr wrap="square">
            <a:spAutoFit/>
          </a:bodyPr>
          <a:lstStyle/>
          <a:p>
            <a:pPr>
              <a:spcBef>
                <a:spcPts val="1200"/>
              </a:spcBef>
            </a:pPr>
            <a:r>
              <a:rPr lang="en-US" sz="1400" u="sng" dirty="0">
                <a:solidFill>
                  <a:srgbClr val="817A6C"/>
                </a:solidFill>
                <a:latin typeface="Arial" panose="020B0604020202020204" pitchFamily="34" charset="0"/>
                <a:cs typeface="Arial" panose="020B0604020202020204" pitchFamily="34" charset="0"/>
              </a:rPr>
              <a:t>Characteristics of the System</a:t>
            </a:r>
          </a:p>
          <a:p>
            <a:pPr marL="571500" indent="-571500">
              <a:spcBef>
                <a:spcPts val="1200"/>
              </a:spcBef>
              <a:buFont typeface="Wingdings" panose="05000000000000000000" pitchFamily="2" charset="2"/>
              <a:buChar char="Ø"/>
            </a:pPr>
            <a:r>
              <a:rPr lang="en-US" sz="1400" dirty="0">
                <a:solidFill>
                  <a:srgbClr val="817A6C"/>
                </a:solidFill>
                <a:latin typeface="Arial" panose="020B0604020202020204" pitchFamily="34" charset="0"/>
                <a:cs typeface="Arial" panose="020B0604020202020204" pitchFamily="34" charset="0"/>
              </a:rPr>
              <a:t>High incentive intensity</a:t>
            </a:r>
          </a:p>
          <a:p>
            <a:pPr marL="571500" indent="-571500">
              <a:spcBef>
                <a:spcPts val="1200"/>
              </a:spcBef>
              <a:buFont typeface="Wingdings" panose="05000000000000000000" pitchFamily="2" charset="2"/>
              <a:buChar char="Ø"/>
            </a:pPr>
            <a:r>
              <a:rPr lang="en-US" sz="1400" dirty="0">
                <a:solidFill>
                  <a:srgbClr val="817A6C"/>
                </a:solidFill>
                <a:latin typeface="Arial" panose="020B0604020202020204" pitchFamily="34" charset="0"/>
                <a:cs typeface="Arial" panose="020B0604020202020204" pitchFamily="34" charset="0"/>
              </a:rPr>
              <a:t>Flexible support structure</a:t>
            </a:r>
          </a:p>
          <a:p>
            <a:pPr marL="571500" indent="-571500">
              <a:spcBef>
                <a:spcPts val="1200"/>
              </a:spcBef>
              <a:buFont typeface="Wingdings" panose="05000000000000000000" pitchFamily="2" charset="2"/>
              <a:buChar char="Ø"/>
            </a:pPr>
            <a:r>
              <a:rPr lang="en-US" sz="1400" dirty="0">
                <a:solidFill>
                  <a:srgbClr val="817A6C"/>
                </a:solidFill>
                <a:latin typeface="Arial" panose="020B0604020202020204" pitchFamily="34" charset="0"/>
                <a:cs typeface="Arial" panose="020B0604020202020204" pitchFamily="34" charset="0"/>
              </a:rPr>
              <a:t>Grant support elements</a:t>
            </a:r>
          </a:p>
        </p:txBody>
      </p:sp>
      <p:sp>
        <p:nvSpPr>
          <p:cNvPr id="25" name="TextBox 41">
            <a:extLst>
              <a:ext uri="{FF2B5EF4-FFF2-40B4-BE49-F238E27FC236}">
                <a16:creationId xmlns:a16="http://schemas.microsoft.com/office/drawing/2014/main" id="{CB4749D5-474B-DCE0-5ACF-7AD7E8771FC5}"/>
              </a:ext>
            </a:extLst>
          </p:cNvPr>
          <p:cNvSpPr txBox="1"/>
          <p:nvPr/>
        </p:nvSpPr>
        <p:spPr>
          <a:xfrm>
            <a:off x="8507731" y="1260203"/>
            <a:ext cx="1876391" cy="523220"/>
          </a:xfrm>
          <a:prstGeom prst="rect">
            <a:avLst/>
          </a:prstGeom>
          <a:noFill/>
        </p:spPr>
        <p:txBody>
          <a:bodyPr wrap="square" rtlCol="0">
            <a:spAutoFit/>
          </a:bodyPr>
          <a:lstStyle/>
          <a:p>
            <a:pPr algn="ctr"/>
            <a:r>
              <a:rPr lang="tr-TR" sz="1400" dirty="0">
                <a:solidFill>
                  <a:srgbClr val="817A6C"/>
                </a:solidFill>
                <a:latin typeface="Arial" panose="020B0604020202020204" pitchFamily="34" charset="0"/>
                <a:cs typeface="Arial" panose="020B0604020202020204" pitchFamily="34" charset="0"/>
              </a:rPr>
              <a:t>Advanced </a:t>
            </a:r>
            <a:endParaRPr lang="en-US" sz="1400" dirty="0">
              <a:solidFill>
                <a:srgbClr val="817A6C"/>
              </a:solidFill>
              <a:latin typeface="Arial" panose="020B0604020202020204" pitchFamily="34" charset="0"/>
              <a:cs typeface="Arial" panose="020B0604020202020204" pitchFamily="34" charset="0"/>
            </a:endParaRPr>
          </a:p>
          <a:p>
            <a:pPr algn="ctr"/>
            <a:r>
              <a:rPr lang="tr-TR" sz="1400" dirty="0">
                <a:solidFill>
                  <a:srgbClr val="817A6C"/>
                </a:solidFill>
                <a:latin typeface="Arial" panose="020B0604020202020204" pitchFamily="34" charset="0"/>
                <a:cs typeface="Arial" panose="020B0604020202020204" pitchFamily="34" charset="0"/>
              </a:rPr>
              <a:t>Manufacturing</a:t>
            </a:r>
          </a:p>
        </p:txBody>
      </p:sp>
      <p:sp>
        <p:nvSpPr>
          <p:cNvPr id="26" name="Dikdörtgen 2">
            <a:extLst>
              <a:ext uri="{FF2B5EF4-FFF2-40B4-BE49-F238E27FC236}">
                <a16:creationId xmlns:a16="http://schemas.microsoft.com/office/drawing/2014/main" id="{4167BF35-546A-7B80-3DFF-00AF5CC0B733}"/>
              </a:ext>
            </a:extLst>
          </p:cNvPr>
          <p:cNvSpPr/>
          <p:nvPr/>
        </p:nvSpPr>
        <p:spPr>
          <a:xfrm>
            <a:off x="8042357" y="2625615"/>
            <a:ext cx="3023044" cy="523220"/>
          </a:xfrm>
          <a:prstGeom prst="rect">
            <a:avLst/>
          </a:prstGeom>
        </p:spPr>
        <p:txBody>
          <a:bodyPr wrap="square">
            <a:spAutoFit/>
          </a:bodyPr>
          <a:lstStyle/>
          <a:p>
            <a:pPr algn="ctr"/>
            <a:r>
              <a:rPr lang="en-US" sz="1400" dirty="0">
                <a:solidFill>
                  <a:srgbClr val="817A6C"/>
                </a:solidFill>
                <a:latin typeface="Arial" panose="020B0604020202020204" pitchFamily="34" charset="0"/>
                <a:cs typeface="Arial" panose="020B0604020202020204" pitchFamily="34" charset="0"/>
              </a:rPr>
              <a:t>Complementary Investments </a:t>
            </a:r>
          </a:p>
          <a:p>
            <a:pPr algn="ctr"/>
            <a:r>
              <a:rPr lang="en-US" sz="1400" dirty="0">
                <a:solidFill>
                  <a:srgbClr val="817A6C"/>
                </a:solidFill>
                <a:latin typeface="Arial" panose="020B0604020202020204" pitchFamily="34" charset="0"/>
                <a:cs typeface="Arial" panose="020B0604020202020204" pitchFamily="34" charset="0"/>
              </a:rPr>
              <a:t>n the Value Chain</a:t>
            </a:r>
            <a:endParaRPr lang="tr-TR" sz="1400" dirty="0">
              <a:solidFill>
                <a:srgbClr val="817A6C"/>
              </a:solidFill>
              <a:latin typeface="Arial" panose="020B0604020202020204" pitchFamily="34" charset="0"/>
              <a:cs typeface="Arial" panose="020B0604020202020204" pitchFamily="34" charset="0"/>
            </a:endParaRPr>
          </a:p>
        </p:txBody>
      </p:sp>
      <p:sp>
        <p:nvSpPr>
          <p:cNvPr id="27" name="Dikdörtgen 36">
            <a:extLst>
              <a:ext uri="{FF2B5EF4-FFF2-40B4-BE49-F238E27FC236}">
                <a16:creationId xmlns:a16="http://schemas.microsoft.com/office/drawing/2014/main" id="{1DAFDC3E-3C39-5A5C-F80B-E812584AC2DA}"/>
              </a:ext>
            </a:extLst>
          </p:cNvPr>
          <p:cNvSpPr/>
          <p:nvPr/>
        </p:nvSpPr>
        <p:spPr>
          <a:xfrm>
            <a:off x="2507741" y="4499339"/>
            <a:ext cx="2046180" cy="327680"/>
          </a:xfrm>
          <a:prstGeom prst="rect">
            <a:avLst/>
          </a:prstGeom>
          <a:no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srgbClr val="817A6C"/>
                </a:solidFill>
              </a:rPr>
              <a:t>%70 Tax Exemption</a:t>
            </a:r>
          </a:p>
        </p:txBody>
      </p:sp>
      <p:sp>
        <p:nvSpPr>
          <p:cNvPr id="28" name="Dikdörtgen 37">
            <a:extLst>
              <a:ext uri="{FF2B5EF4-FFF2-40B4-BE49-F238E27FC236}">
                <a16:creationId xmlns:a16="http://schemas.microsoft.com/office/drawing/2014/main" id="{0BB1186C-ED25-6A85-4B72-273D219D2188}"/>
              </a:ext>
            </a:extLst>
          </p:cNvPr>
          <p:cNvSpPr/>
          <p:nvPr/>
        </p:nvSpPr>
        <p:spPr>
          <a:xfrm>
            <a:off x="4618135" y="4499339"/>
            <a:ext cx="2465572" cy="313879"/>
          </a:xfrm>
          <a:prstGeom prst="rect">
            <a:avLst/>
          </a:prstGeom>
          <a:no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srgbClr val="817A6C"/>
                </a:solidFill>
              </a:rPr>
              <a:t>%10 Employment Support</a:t>
            </a:r>
          </a:p>
        </p:txBody>
      </p:sp>
      <p:sp>
        <p:nvSpPr>
          <p:cNvPr id="29" name="Dikdörtgen 38">
            <a:extLst>
              <a:ext uri="{FF2B5EF4-FFF2-40B4-BE49-F238E27FC236}">
                <a16:creationId xmlns:a16="http://schemas.microsoft.com/office/drawing/2014/main" id="{C45619EF-3C74-7661-7638-B1F48F6C4B86}"/>
              </a:ext>
            </a:extLst>
          </p:cNvPr>
          <p:cNvSpPr/>
          <p:nvPr/>
        </p:nvSpPr>
        <p:spPr>
          <a:xfrm>
            <a:off x="7147921" y="4501991"/>
            <a:ext cx="2158125" cy="311227"/>
          </a:xfrm>
          <a:prstGeom prst="rect">
            <a:avLst/>
          </a:prstGeom>
          <a:no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srgbClr val="817A6C"/>
                </a:solidFill>
              </a:rPr>
              <a:t>%10 Tax Return</a:t>
            </a:r>
          </a:p>
        </p:txBody>
      </p:sp>
      <p:sp>
        <p:nvSpPr>
          <p:cNvPr id="30" name="Dikdörtgen 39">
            <a:extLst>
              <a:ext uri="{FF2B5EF4-FFF2-40B4-BE49-F238E27FC236}">
                <a16:creationId xmlns:a16="http://schemas.microsoft.com/office/drawing/2014/main" id="{3AA80234-4EFD-467E-1FF5-0166BDC7BE65}"/>
              </a:ext>
            </a:extLst>
          </p:cNvPr>
          <p:cNvSpPr/>
          <p:nvPr/>
        </p:nvSpPr>
        <p:spPr>
          <a:xfrm>
            <a:off x="9370260" y="4501993"/>
            <a:ext cx="2104114" cy="311226"/>
          </a:xfrm>
          <a:prstGeom prst="rect">
            <a:avLst/>
          </a:prstGeom>
          <a:noFill/>
          <a:ln>
            <a:solidFill>
              <a:srgbClr val="7F6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dirty="0">
                <a:solidFill>
                  <a:srgbClr val="817A6C"/>
                </a:solidFill>
              </a:rPr>
              <a:t>%10 Grant Support</a:t>
            </a:r>
          </a:p>
        </p:txBody>
      </p:sp>
      <p:sp>
        <p:nvSpPr>
          <p:cNvPr id="31" name="Dikdörtgen 6">
            <a:extLst>
              <a:ext uri="{FF2B5EF4-FFF2-40B4-BE49-F238E27FC236}">
                <a16:creationId xmlns:a16="http://schemas.microsoft.com/office/drawing/2014/main" id="{2CAF7F48-9C61-602D-9B0F-BEAECE5B6254}"/>
              </a:ext>
            </a:extLst>
          </p:cNvPr>
          <p:cNvSpPr/>
          <p:nvPr/>
        </p:nvSpPr>
        <p:spPr>
          <a:xfrm>
            <a:off x="2560973" y="3474129"/>
            <a:ext cx="8913401" cy="707886"/>
          </a:xfrm>
          <a:prstGeom prst="rect">
            <a:avLst/>
          </a:prstGeom>
        </p:spPr>
        <p:txBody>
          <a:bodyPr wrap="square">
            <a:spAutoFit/>
          </a:bodyPr>
          <a:lstStyle/>
          <a:p>
            <a:r>
              <a:rPr lang="en-US" sz="2000" dirty="0">
                <a:solidFill>
                  <a:srgbClr val="817A6C"/>
                </a:solidFill>
                <a:latin typeface="Arial" panose="020B0604020202020204" pitchFamily="34" charset="0"/>
                <a:cs typeface="Arial" panose="020B0604020202020204" pitchFamily="34" charset="0"/>
              </a:rPr>
              <a:t>It is envisaged that a total of 30 billion dollars in support will be provided for  high technology investments to be implemented by the year 2030</a:t>
            </a:r>
            <a:endParaRPr lang="tr-TR" sz="2000" dirty="0">
              <a:solidFill>
                <a:srgbClr val="817A6C"/>
              </a:solidFill>
              <a:latin typeface="Arial" panose="020B0604020202020204" pitchFamily="34" charset="0"/>
              <a:cs typeface="Arial" panose="020B0604020202020204" pitchFamily="34" charset="0"/>
            </a:endParaRPr>
          </a:p>
        </p:txBody>
      </p:sp>
      <p:sp>
        <p:nvSpPr>
          <p:cNvPr id="32" name="Dikdörtgen 184">
            <a:extLst>
              <a:ext uri="{FF2B5EF4-FFF2-40B4-BE49-F238E27FC236}">
                <a16:creationId xmlns:a16="http://schemas.microsoft.com/office/drawing/2014/main" id="{EED018E5-F62F-C55E-9391-09A8C237999B}"/>
              </a:ext>
            </a:extLst>
          </p:cNvPr>
          <p:cNvSpPr/>
          <p:nvPr/>
        </p:nvSpPr>
        <p:spPr>
          <a:xfrm>
            <a:off x="651371" y="3368035"/>
            <a:ext cx="2008952" cy="1046440"/>
          </a:xfrm>
          <a:prstGeom prst="rect">
            <a:avLst/>
          </a:prstGeom>
        </p:spPr>
        <p:txBody>
          <a:bodyPr wrap="square">
            <a:spAutoFit/>
          </a:bodyPr>
          <a:lstStyle/>
          <a:p>
            <a:pPr algn="ctr"/>
            <a:r>
              <a:rPr lang="en-US" sz="1400" dirty="0">
                <a:solidFill>
                  <a:srgbClr val="817A6C"/>
                </a:solidFill>
                <a:latin typeface="Arial" panose="020B0604020202020204" pitchFamily="34" charset="0"/>
                <a:cs typeface="Arial" panose="020B0604020202020204" pitchFamily="34" charset="0"/>
              </a:rPr>
              <a:t>$</a:t>
            </a:r>
            <a:r>
              <a:rPr lang="tr-TR" sz="1600" dirty="0">
                <a:solidFill>
                  <a:srgbClr val="817A6C"/>
                </a:solidFill>
                <a:latin typeface="Arial" panose="020B0604020202020204" pitchFamily="34" charset="0"/>
                <a:cs typeface="Arial" panose="020B0604020202020204" pitchFamily="34" charset="0"/>
              </a:rPr>
              <a:t>30</a:t>
            </a:r>
            <a:endParaRPr lang="en-US" sz="1600" dirty="0">
              <a:solidFill>
                <a:srgbClr val="817A6C"/>
              </a:solidFill>
              <a:latin typeface="Arial" panose="020B0604020202020204" pitchFamily="34" charset="0"/>
              <a:cs typeface="Arial" panose="020B0604020202020204" pitchFamily="34" charset="0"/>
            </a:endParaRPr>
          </a:p>
          <a:p>
            <a:pPr algn="ctr"/>
            <a:r>
              <a:rPr lang="en-US" sz="1600" dirty="0">
                <a:solidFill>
                  <a:srgbClr val="817A6C"/>
                </a:solidFill>
                <a:latin typeface="Arial" panose="020B0604020202020204" pitchFamily="34" charset="0"/>
                <a:cs typeface="Arial" panose="020B0604020202020204" pitchFamily="34" charset="0"/>
              </a:rPr>
              <a:t>Billion</a:t>
            </a:r>
            <a:endParaRPr lang="tr-TR" sz="1600" dirty="0">
              <a:solidFill>
                <a:srgbClr val="817A6C"/>
              </a:solidFill>
              <a:latin typeface="Arial" panose="020B0604020202020204" pitchFamily="34" charset="0"/>
              <a:cs typeface="Arial" panose="020B0604020202020204" pitchFamily="34" charset="0"/>
            </a:endParaRPr>
          </a:p>
          <a:p>
            <a:pPr algn="ctr"/>
            <a:r>
              <a:rPr lang="en-US" sz="1600" dirty="0">
                <a:solidFill>
                  <a:srgbClr val="817A6C"/>
                </a:solidFill>
                <a:latin typeface="Arial" panose="020B0604020202020204" pitchFamily="34" charset="0"/>
                <a:cs typeface="Arial" panose="020B0604020202020204" pitchFamily="34" charset="0"/>
              </a:rPr>
              <a:t>support budget</a:t>
            </a:r>
          </a:p>
          <a:p>
            <a:pPr algn="ctr"/>
            <a:endParaRPr lang="en-US" sz="1200" dirty="0">
              <a:solidFill>
                <a:srgbClr val="817A6C"/>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19482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37089A-6DED-0377-FA22-DD36F345661E}"/>
            </a:ext>
          </a:extLst>
        </p:cNvPr>
        <p:cNvGrpSpPr/>
        <p:nvPr/>
      </p:nvGrpSpPr>
      <p:grpSpPr>
        <a:xfrm>
          <a:off x="0" y="0"/>
          <a:ext cx="0" cy="0"/>
          <a:chOff x="0" y="0"/>
          <a:chExt cx="0" cy="0"/>
        </a:xfrm>
      </p:grpSpPr>
      <p:sp>
        <p:nvSpPr>
          <p:cNvPr id="25" name="Rectangle: Rounded Corners 24">
            <a:extLst>
              <a:ext uri="{FF2B5EF4-FFF2-40B4-BE49-F238E27FC236}">
                <a16:creationId xmlns:a16="http://schemas.microsoft.com/office/drawing/2014/main" id="{A508B4D6-C01C-CAC7-C255-994BBE7E5D86}"/>
              </a:ext>
            </a:extLst>
          </p:cNvPr>
          <p:cNvSpPr/>
          <p:nvPr/>
        </p:nvSpPr>
        <p:spPr>
          <a:xfrm>
            <a:off x="8477659" y="5062847"/>
            <a:ext cx="3574297" cy="1441398"/>
          </a:xfrm>
          <a:prstGeom prst="roundRect">
            <a:avLst/>
          </a:prstGeom>
          <a:solidFill>
            <a:schemeClr val="bg1">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Rounded Corners 23">
            <a:extLst>
              <a:ext uri="{FF2B5EF4-FFF2-40B4-BE49-F238E27FC236}">
                <a16:creationId xmlns:a16="http://schemas.microsoft.com/office/drawing/2014/main" id="{D4F4DCF9-9D44-5DD6-382E-FF943C1A8ECD}"/>
              </a:ext>
            </a:extLst>
          </p:cNvPr>
          <p:cNvSpPr/>
          <p:nvPr/>
        </p:nvSpPr>
        <p:spPr>
          <a:xfrm>
            <a:off x="8447550" y="2877145"/>
            <a:ext cx="3651776" cy="1995418"/>
          </a:xfrm>
          <a:prstGeom prst="roundRect">
            <a:avLst/>
          </a:prstGeom>
          <a:solidFill>
            <a:schemeClr val="bg1">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Rounded Corners 22">
            <a:extLst>
              <a:ext uri="{FF2B5EF4-FFF2-40B4-BE49-F238E27FC236}">
                <a16:creationId xmlns:a16="http://schemas.microsoft.com/office/drawing/2014/main" id="{78073827-F9D6-511C-D909-5A5DE2F7B637}"/>
              </a:ext>
            </a:extLst>
          </p:cNvPr>
          <p:cNvSpPr/>
          <p:nvPr/>
        </p:nvSpPr>
        <p:spPr>
          <a:xfrm>
            <a:off x="8370586" y="729730"/>
            <a:ext cx="3681370" cy="1913201"/>
          </a:xfrm>
          <a:prstGeom prst="roundRect">
            <a:avLst/>
          </a:prstGeom>
          <a:solidFill>
            <a:schemeClr val="bg1">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41E90437-C35D-1C9D-909F-46BB14A13AC8}"/>
              </a:ext>
            </a:extLst>
          </p:cNvPr>
          <p:cNvSpPr/>
          <p:nvPr/>
        </p:nvSpPr>
        <p:spPr>
          <a:xfrm>
            <a:off x="4250882" y="5387164"/>
            <a:ext cx="3990814" cy="1441398"/>
          </a:xfrm>
          <a:prstGeom prst="roundRect">
            <a:avLst/>
          </a:prstGeom>
          <a:solidFill>
            <a:schemeClr val="bg1">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Rounded Corners 20">
            <a:extLst>
              <a:ext uri="{FF2B5EF4-FFF2-40B4-BE49-F238E27FC236}">
                <a16:creationId xmlns:a16="http://schemas.microsoft.com/office/drawing/2014/main" id="{8CCA9590-64B8-40D2-16A2-480407B78B12}"/>
              </a:ext>
            </a:extLst>
          </p:cNvPr>
          <p:cNvSpPr/>
          <p:nvPr/>
        </p:nvSpPr>
        <p:spPr>
          <a:xfrm>
            <a:off x="4163644" y="2642932"/>
            <a:ext cx="4078052" cy="2667397"/>
          </a:xfrm>
          <a:prstGeom prst="roundRect">
            <a:avLst/>
          </a:prstGeom>
          <a:solidFill>
            <a:schemeClr val="bg1">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Rounded Corners 19">
            <a:extLst>
              <a:ext uri="{FF2B5EF4-FFF2-40B4-BE49-F238E27FC236}">
                <a16:creationId xmlns:a16="http://schemas.microsoft.com/office/drawing/2014/main" id="{4A882762-1F4A-9182-0EBF-F9647607A7C7}"/>
              </a:ext>
            </a:extLst>
          </p:cNvPr>
          <p:cNvSpPr/>
          <p:nvPr/>
        </p:nvSpPr>
        <p:spPr>
          <a:xfrm>
            <a:off x="4133534" y="745883"/>
            <a:ext cx="4108161" cy="1844835"/>
          </a:xfrm>
          <a:prstGeom prst="roundRect">
            <a:avLst/>
          </a:prstGeom>
          <a:solidFill>
            <a:schemeClr val="bg1">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Rounded Corners 18">
            <a:extLst>
              <a:ext uri="{FF2B5EF4-FFF2-40B4-BE49-F238E27FC236}">
                <a16:creationId xmlns:a16="http://schemas.microsoft.com/office/drawing/2014/main" id="{0288C75C-86BF-8271-F5D1-8173C6D87E41}"/>
              </a:ext>
            </a:extLst>
          </p:cNvPr>
          <p:cNvSpPr/>
          <p:nvPr/>
        </p:nvSpPr>
        <p:spPr>
          <a:xfrm>
            <a:off x="185956" y="4300615"/>
            <a:ext cx="3896255" cy="1441398"/>
          </a:xfrm>
          <a:prstGeom prst="roundRect">
            <a:avLst/>
          </a:prstGeom>
          <a:solidFill>
            <a:schemeClr val="bg1">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Rounded Corners 17">
            <a:extLst>
              <a:ext uri="{FF2B5EF4-FFF2-40B4-BE49-F238E27FC236}">
                <a16:creationId xmlns:a16="http://schemas.microsoft.com/office/drawing/2014/main" id="{BC2E68C7-8F3D-3B45-C3E2-74B8603817F7}"/>
              </a:ext>
            </a:extLst>
          </p:cNvPr>
          <p:cNvSpPr/>
          <p:nvPr/>
        </p:nvSpPr>
        <p:spPr>
          <a:xfrm>
            <a:off x="194361" y="2159850"/>
            <a:ext cx="3891738" cy="1895482"/>
          </a:xfrm>
          <a:prstGeom prst="roundRect">
            <a:avLst/>
          </a:prstGeom>
          <a:solidFill>
            <a:schemeClr val="bg1">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Rounded Corners 16">
            <a:extLst>
              <a:ext uri="{FF2B5EF4-FFF2-40B4-BE49-F238E27FC236}">
                <a16:creationId xmlns:a16="http://schemas.microsoft.com/office/drawing/2014/main" id="{5E268122-8E6C-776C-D32E-4BB08017E001}"/>
              </a:ext>
            </a:extLst>
          </p:cNvPr>
          <p:cNvSpPr/>
          <p:nvPr/>
        </p:nvSpPr>
        <p:spPr>
          <a:xfrm>
            <a:off x="235703" y="786524"/>
            <a:ext cx="3846132" cy="1165311"/>
          </a:xfrm>
          <a:prstGeom prst="roundRect">
            <a:avLst/>
          </a:prstGeom>
          <a:solidFill>
            <a:schemeClr val="bg1">
              <a:alpha val="3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7">
            <a:extLst>
              <a:ext uri="{FF2B5EF4-FFF2-40B4-BE49-F238E27FC236}">
                <a16:creationId xmlns:a16="http://schemas.microsoft.com/office/drawing/2014/main" id="{BB3925C7-8515-A881-AD94-24FAC70C16C5}"/>
              </a:ext>
            </a:extLst>
          </p:cNvPr>
          <p:cNvSpPr/>
          <p:nvPr/>
        </p:nvSpPr>
        <p:spPr>
          <a:xfrm rot="10800000">
            <a:off x="-6824" y="-419"/>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3" name="Title 2">
            <a:extLst>
              <a:ext uri="{FF2B5EF4-FFF2-40B4-BE49-F238E27FC236}">
                <a16:creationId xmlns:a16="http://schemas.microsoft.com/office/drawing/2014/main" id="{F56D34CC-8986-B73C-2226-7735EF0F0A98}"/>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POTENTIAL COOPERATION OPPORTUNITIES AND PROJECT AREAS</a:t>
            </a:r>
          </a:p>
        </p:txBody>
      </p:sp>
      <p:cxnSp>
        <p:nvCxnSpPr>
          <p:cNvPr id="4" name="Straight Connector 3">
            <a:extLst>
              <a:ext uri="{FF2B5EF4-FFF2-40B4-BE49-F238E27FC236}">
                <a16:creationId xmlns:a16="http://schemas.microsoft.com/office/drawing/2014/main" id="{E91F993A-BAD6-18B5-EB17-BC30E1DBAAF2}"/>
              </a:ext>
            </a:extLst>
          </p:cNvPr>
          <p:cNvCxnSpPr>
            <a:cxnSpLocks/>
          </p:cNvCxnSpPr>
          <p:nvPr/>
        </p:nvCxnSpPr>
        <p:spPr>
          <a:xfrm>
            <a:off x="174526" y="661400"/>
            <a:ext cx="8400514"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5" name="Metin kutusu 16">
            <a:extLst>
              <a:ext uri="{FF2B5EF4-FFF2-40B4-BE49-F238E27FC236}">
                <a16:creationId xmlns:a16="http://schemas.microsoft.com/office/drawing/2014/main" id="{7981149E-505E-A21E-7AF3-51D79BDDD624}"/>
              </a:ext>
            </a:extLst>
          </p:cNvPr>
          <p:cNvSpPr txBox="1"/>
          <p:nvPr/>
        </p:nvSpPr>
        <p:spPr>
          <a:xfrm>
            <a:off x="4250881" y="776364"/>
            <a:ext cx="3604407" cy="1867178"/>
          </a:xfrm>
          <a:prstGeom prst="rect">
            <a:avLst/>
          </a:prstGeom>
          <a:noFill/>
        </p:spPr>
        <p:txBody>
          <a:bodyPr wrap="square" rtlCol="0">
            <a:spAutoFit/>
          </a:bodyPr>
          <a:lstStyle/>
          <a:p>
            <a:r>
              <a:rPr lang="en-US" sz="1600" b="1" u="sng" dirty="0">
                <a:solidFill>
                  <a:srgbClr val="817A6C"/>
                </a:solidFill>
                <a:latin typeface="Arial" panose="020B0604020202020204" pitchFamily="34" charset="0"/>
                <a:cs typeface="Arial" panose="020B0604020202020204" pitchFamily="34" charset="0"/>
              </a:rPr>
              <a:t>Pharmaceuticals</a:t>
            </a:r>
          </a:p>
          <a:p>
            <a:endParaRPr lang="en-US" sz="1200" dirty="0">
              <a:solidFill>
                <a:srgbClr val="817A6C"/>
              </a:solidFill>
              <a:latin typeface="Arial" panose="020B0604020202020204" pitchFamily="34" charset="0"/>
              <a:cs typeface="Arial" panose="020B0604020202020204" pitchFamily="34" charset="0"/>
            </a:endParaRPr>
          </a:p>
          <a:p>
            <a:pPr defTabSz="533400">
              <a:spcBef>
                <a:spcPct val="0"/>
              </a:spcBef>
              <a:spcAft>
                <a:spcPts val="1400"/>
              </a:spcAft>
            </a:pPr>
            <a:r>
              <a:rPr lang="en-US" sz="1600" dirty="0">
                <a:solidFill>
                  <a:srgbClr val="817A6C"/>
                </a:solidFill>
                <a:latin typeface="Arial" panose="020B0604020202020204" pitchFamily="34" charset="0"/>
                <a:cs typeface="Arial" panose="020B0604020202020204" pitchFamily="34" charset="0"/>
              </a:rPr>
              <a:t>Increase mutual </a:t>
            </a:r>
            <a:r>
              <a:rPr lang="tr-TR" sz="1600" dirty="0" err="1">
                <a:solidFill>
                  <a:srgbClr val="817A6C"/>
                </a:solidFill>
                <a:latin typeface="Arial" panose="020B0604020202020204" pitchFamily="34" charset="0"/>
                <a:cs typeface="Arial" panose="020B0604020202020204" pitchFamily="34" charset="0"/>
              </a:rPr>
              <a:t>production</a:t>
            </a:r>
            <a:endParaRPr lang="en-US" sz="1600" dirty="0">
              <a:solidFill>
                <a:srgbClr val="817A6C"/>
              </a:solidFill>
              <a:latin typeface="Arial" panose="020B0604020202020204" pitchFamily="34" charset="0"/>
              <a:cs typeface="Arial" panose="020B0604020202020204" pitchFamily="34" charset="0"/>
            </a:endParaRPr>
          </a:p>
          <a:p>
            <a:pPr defTabSz="533400">
              <a:spcBef>
                <a:spcPct val="0"/>
              </a:spcBef>
              <a:spcAft>
                <a:spcPts val="1400"/>
              </a:spcAft>
            </a:pPr>
            <a:r>
              <a:rPr lang="en-US" sz="1600" dirty="0">
                <a:solidFill>
                  <a:srgbClr val="817A6C"/>
                </a:solidFill>
                <a:latin typeface="Arial" panose="020B0604020202020204" pitchFamily="34" charset="0"/>
                <a:cs typeface="Arial" panose="020B0604020202020204" pitchFamily="34" charset="0"/>
              </a:rPr>
              <a:t>Experience of Turkish pharmaceutical companies on R&amp;D</a:t>
            </a:r>
            <a:endParaRPr lang="tr-TR" sz="1600" dirty="0">
              <a:solidFill>
                <a:srgbClr val="817A6C"/>
              </a:solidFill>
              <a:latin typeface="Arial" panose="020B0604020202020204" pitchFamily="34" charset="0"/>
              <a:cs typeface="Arial" panose="020B0604020202020204" pitchFamily="34" charset="0"/>
            </a:endParaRPr>
          </a:p>
          <a:p>
            <a:pPr defTabSz="533400">
              <a:spcBef>
                <a:spcPct val="0"/>
              </a:spcBef>
              <a:spcAft>
                <a:spcPts val="1400"/>
              </a:spcAft>
            </a:pPr>
            <a:r>
              <a:rPr lang="en-US" sz="1600" dirty="0">
                <a:solidFill>
                  <a:srgbClr val="817A6C"/>
                </a:solidFill>
                <a:latin typeface="Arial" panose="020B0604020202020204" pitchFamily="34" charset="0"/>
                <a:cs typeface="Arial" panose="020B0604020202020204" pitchFamily="34" charset="0"/>
              </a:rPr>
              <a:t>Strengthen regional value chain</a:t>
            </a:r>
            <a:endParaRPr lang="tr-TR" sz="8000" dirty="0">
              <a:solidFill>
                <a:srgbClr val="817A6C"/>
              </a:solidFill>
              <a:latin typeface="Arial" panose="020B0604020202020204" pitchFamily="34" charset="0"/>
              <a:cs typeface="Arial" panose="020B0604020202020204" pitchFamily="34" charset="0"/>
            </a:endParaRPr>
          </a:p>
        </p:txBody>
      </p:sp>
      <p:sp>
        <p:nvSpPr>
          <p:cNvPr id="6" name="Metin kutusu 17">
            <a:extLst>
              <a:ext uri="{FF2B5EF4-FFF2-40B4-BE49-F238E27FC236}">
                <a16:creationId xmlns:a16="http://schemas.microsoft.com/office/drawing/2014/main" id="{9906070B-0BE2-ACF8-816A-4B6F34593657}"/>
              </a:ext>
            </a:extLst>
          </p:cNvPr>
          <p:cNvSpPr txBox="1"/>
          <p:nvPr/>
        </p:nvSpPr>
        <p:spPr>
          <a:xfrm>
            <a:off x="4235069" y="2703896"/>
            <a:ext cx="4078052" cy="2667397"/>
          </a:xfrm>
          <a:prstGeom prst="rect">
            <a:avLst/>
          </a:prstGeom>
          <a:noFill/>
        </p:spPr>
        <p:txBody>
          <a:bodyPr wrap="square" rtlCol="0">
            <a:spAutoFit/>
          </a:bodyPr>
          <a:lstStyle/>
          <a:p>
            <a:r>
              <a:rPr lang="en-US" sz="1600" b="1" u="sng" dirty="0">
                <a:solidFill>
                  <a:srgbClr val="817A6C"/>
                </a:solidFill>
                <a:latin typeface="Arial" panose="020B0604020202020204" pitchFamily="34" charset="0"/>
                <a:cs typeface="Arial" panose="020B0604020202020204" pitchFamily="34" charset="0"/>
              </a:rPr>
              <a:t>Petrochemicals</a:t>
            </a:r>
            <a:endParaRPr lang="tr-TR" sz="1600" b="1" u="sng" dirty="0">
              <a:solidFill>
                <a:srgbClr val="817A6C"/>
              </a:solidFill>
              <a:latin typeface="Arial" panose="020B0604020202020204" pitchFamily="34" charset="0"/>
              <a:cs typeface="Arial" panose="020B0604020202020204" pitchFamily="34" charset="0"/>
            </a:endParaRPr>
          </a:p>
          <a:p>
            <a:endParaRPr lang="en-US" sz="1600" u="sng" dirty="0">
              <a:solidFill>
                <a:srgbClr val="817A6C"/>
              </a:solidFill>
              <a:latin typeface="Arial" panose="020B0604020202020204" pitchFamily="34" charset="0"/>
              <a:cs typeface="Arial" panose="020B0604020202020204" pitchFamily="34" charset="0"/>
            </a:endParaRPr>
          </a:p>
          <a:p>
            <a:pPr defTabSz="533400">
              <a:spcBef>
                <a:spcPct val="0"/>
              </a:spcBef>
              <a:spcAft>
                <a:spcPts val="1400"/>
              </a:spcAft>
            </a:pPr>
            <a:r>
              <a:rPr lang="en-US" sz="1600" dirty="0">
                <a:solidFill>
                  <a:srgbClr val="817A6C"/>
                </a:solidFill>
                <a:latin typeface="Arial" panose="020B0604020202020204" pitchFamily="34" charset="0"/>
                <a:cs typeface="Arial" panose="020B0604020202020204" pitchFamily="34" charset="0"/>
              </a:rPr>
              <a:t>Supply raw materials from Partnership countries and supply intermediate goods or final products from Türkiye</a:t>
            </a:r>
          </a:p>
          <a:p>
            <a:pPr defTabSz="533400">
              <a:spcBef>
                <a:spcPct val="0"/>
              </a:spcBef>
              <a:spcAft>
                <a:spcPts val="1400"/>
              </a:spcAft>
            </a:pPr>
            <a:r>
              <a:rPr lang="en-US" sz="1600" dirty="0">
                <a:solidFill>
                  <a:srgbClr val="817A6C"/>
                </a:solidFill>
                <a:latin typeface="Arial" panose="020B0604020202020204" pitchFamily="34" charset="0"/>
                <a:cs typeface="Arial" panose="020B0604020202020204" pitchFamily="34" charset="0"/>
              </a:rPr>
              <a:t>Cooperate on sustainability and green economy </a:t>
            </a:r>
          </a:p>
          <a:p>
            <a:pPr defTabSz="533400">
              <a:spcBef>
                <a:spcPct val="0"/>
              </a:spcBef>
              <a:spcAft>
                <a:spcPts val="1400"/>
              </a:spcAft>
            </a:pPr>
            <a:r>
              <a:rPr lang="en-US" sz="1600" dirty="0">
                <a:solidFill>
                  <a:srgbClr val="817A6C"/>
                </a:solidFill>
                <a:latin typeface="Arial" panose="020B0604020202020204" pitchFamily="34" charset="0"/>
                <a:cs typeface="Arial" panose="020B0604020202020204" pitchFamily="34" charset="0"/>
              </a:rPr>
              <a:t>Mutually support environmentally friendly petrochemical projects</a:t>
            </a:r>
            <a:endParaRPr lang="tr-TR" sz="8000" dirty="0">
              <a:solidFill>
                <a:srgbClr val="817A6C"/>
              </a:solidFill>
              <a:latin typeface="Arial" panose="020B0604020202020204" pitchFamily="34" charset="0"/>
              <a:cs typeface="Arial" panose="020B0604020202020204" pitchFamily="34" charset="0"/>
            </a:endParaRPr>
          </a:p>
        </p:txBody>
      </p:sp>
      <p:sp>
        <p:nvSpPr>
          <p:cNvPr id="7" name="Metin kutusu 18">
            <a:extLst>
              <a:ext uri="{FF2B5EF4-FFF2-40B4-BE49-F238E27FC236}">
                <a16:creationId xmlns:a16="http://schemas.microsoft.com/office/drawing/2014/main" id="{CD6748FC-F094-78ED-6E36-6E1F54342B75}"/>
              </a:ext>
            </a:extLst>
          </p:cNvPr>
          <p:cNvSpPr txBox="1"/>
          <p:nvPr/>
        </p:nvSpPr>
        <p:spPr>
          <a:xfrm>
            <a:off x="8455139" y="703065"/>
            <a:ext cx="3604406" cy="2056973"/>
          </a:xfrm>
          <a:prstGeom prst="rect">
            <a:avLst/>
          </a:prstGeom>
          <a:noFill/>
        </p:spPr>
        <p:txBody>
          <a:bodyPr wrap="square" rtlCol="0">
            <a:spAutoFit/>
          </a:bodyPr>
          <a:lstStyle/>
          <a:p>
            <a:r>
              <a:rPr lang="en-US" sz="1600" b="1" u="sng" dirty="0">
                <a:solidFill>
                  <a:srgbClr val="817A6C"/>
                </a:solidFill>
                <a:latin typeface="Arial" panose="020B0604020202020204" pitchFamily="34" charset="0"/>
                <a:cs typeface="Arial" panose="020B0604020202020204" pitchFamily="34" charset="0"/>
              </a:rPr>
              <a:t>Drought Resistant Plant Varieties</a:t>
            </a:r>
            <a:endParaRPr lang="tr-TR" sz="1600" b="1" u="sng" dirty="0">
              <a:solidFill>
                <a:srgbClr val="817A6C"/>
              </a:solidFill>
              <a:latin typeface="Arial" panose="020B0604020202020204" pitchFamily="34" charset="0"/>
              <a:cs typeface="Arial" panose="020B0604020202020204" pitchFamily="34" charset="0"/>
            </a:endParaRPr>
          </a:p>
          <a:p>
            <a:endParaRPr lang="en-US" sz="1600" u="sng" dirty="0">
              <a:solidFill>
                <a:srgbClr val="817A6C"/>
              </a:solidFill>
              <a:latin typeface="Arial" panose="020B0604020202020204" pitchFamily="34" charset="0"/>
              <a:cs typeface="Arial" panose="020B0604020202020204" pitchFamily="34" charset="0"/>
            </a:endParaRPr>
          </a:p>
          <a:p>
            <a:pPr>
              <a:spcAft>
                <a:spcPts val="1400"/>
              </a:spcAft>
            </a:pPr>
            <a:r>
              <a:rPr lang="en-US" sz="1600" dirty="0">
                <a:solidFill>
                  <a:srgbClr val="817A6C"/>
                </a:solidFill>
                <a:latin typeface="Arial" panose="020B0604020202020204" pitchFamily="34" charset="0"/>
                <a:cs typeface="Arial" panose="020B0604020202020204" pitchFamily="34" charset="0"/>
              </a:rPr>
              <a:t>Favorable possibility for breeders and producers who are keen on investing in Türkiye</a:t>
            </a:r>
          </a:p>
          <a:p>
            <a:pPr>
              <a:spcAft>
                <a:spcPts val="1400"/>
              </a:spcAft>
            </a:pPr>
            <a:r>
              <a:rPr lang="en-US" sz="1600" dirty="0">
                <a:solidFill>
                  <a:srgbClr val="817A6C"/>
                </a:solidFill>
                <a:latin typeface="Arial" panose="020B0604020202020204" pitchFamily="34" charset="0"/>
                <a:cs typeface="Arial" panose="020B0604020202020204" pitchFamily="34" charset="0"/>
              </a:rPr>
              <a:t>A burgeoning market for seed breeders</a:t>
            </a:r>
            <a:endParaRPr lang="tr-TR" sz="2000" dirty="0">
              <a:solidFill>
                <a:srgbClr val="817A6C"/>
              </a:solidFill>
              <a:latin typeface="Arial" panose="020B0604020202020204" pitchFamily="34" charset="0"/>
              <a:cs typeface="Arial" panose="020B0604020202020204" pitchFamily="34" charset="0"/>
            </a:endParaRPr>
          </a:p>
        </p:txBody>
      </p:sp>
      <p:sp>
        <p:nvSpPr>
          <p:cNvPr id="8" name="Metin kutusu 19">
            <a:extLst>
              <a:ext uri="{FF2B5EF4-FFF2-40B4-BE49-F238E27FC236}">
                <a16:creationId xmlns:a16="http://schemas.microsoft.com/office/drawing/2014/main" id="{F6817E58-1FC4-D7E4-50EC-2B12A46D90EF}"/>
              </a:ext>
            </a:extLst>
          </p:cNvPr>
          <p:cNvSpPr txBox="1"/>
          <p:nvPr/>
        </p:nvSpPr>
        <p:spPr>
          <a:xfrm>
            <a:off x="8449201" y="2946741"/>
            <a:ext cx="3742797" cy="1995418"/>
          </a:xfrm>
          <a:prstGeom prst="rect">
            <a:avLst/>
          </a:prstGeom>
          <a:noFill/>
        </p:spPr>
        <p:txBody>
          <a:bodyPr wrap="square" rtlCol="0">
            <a:spAutoFit/>
          </a:bodyPr>
          <a:lstStyle/>
          <a:p>
            <a:r>
              <a:rPr lang="en-US" sz="1600" b="1" u="sng" dirty="0">
                <a:solidFill>
                  <a:srgbClr val="817A6C"/>
                </a:solidFill>
                <a:latin typeface="Arial" panose="020B0604020202020204" pitchFamily="34" charset="0"/>
                <a:cs typeface="Arial" panose="020B0604020202020204" pitchFamily="34" charset="0"/>
              </a:rPr>
              <a:t>Vertical Farming</a:t>
            </a:r>
            <a:endParaRPr lang="tr-TR" sz="1600" b="1" u="sng" dirty="0">
              <a:solidFill>
                <a:srgbClr val="817A6C"/>
              </a:solidFill>
              <a:latin typeface="Arial" panose="020B0604020202020204" pitchFamily="34" charset="0"/>
              <a:cs typeface="Arial" panose="020B0604020202020204" pitchFamily="34" charset="0"/>
            </a:endParaRPr>
          </a:p>
          <a:p>
            <a:endParaRPr lang="en-US" sz="1600" u="sng" dirty="0">
              <a:solidFill>
                <a:srgbClr val="817A6C"/>
              </a:solidFill>
              <a:latin typeface="Arial" panose="020B0604020202020204" pitchFamily="34" charset="0"/>
              <a:cs typeface="Arial" panose="020B0604020202020204" pitchFamily="34" charset="0"/>
            </a:endParaRPr>
          </a:p>
          <a:p>
            <a:pPr>
              <a:spcBef>
                <a:spcPct val="0"/>
              </a:spcBef>
              <a:spcAft>
                <a:spcPts val="1400"/>
              </a:spcAft>
            </a:pPr>
            <a:r>
              <a:rPr lang="en-US" sz="1600" dirty="0">
                <a:solidFill>
                  <a:srgbClr val="817A6C"/>
                </a:solidFill>
                <a:latin typeface="Arial" panose="020B0604020202020204" pitchFamily="34" charset="0"/>
                <a:cs typeface="Arial" panose="020B0604020202020204" pitchFamily="34" charset="0"/>
              </a:rPr>
              <a:t>Mutually benefit hydroponic production</a:t>
            </a:r>
          </a:p>
          <a:p>
            <a:pPr>
              <a:spcBef>
                <a:spcPct val="0"/>
              </a:spcBef>
              <a:spcAft>
                <a:spcPts val="1400"/>
              </a:spcAft>
            </a:pPr>
            <a:r>
              <a:rPr lang="en-US" sz="1600" dirty="0">
                <a:solidFill>
                  <a:srgbClr val="817A6C"/>
                </a:solidFill>
                <a:latin typeface="Arial" panose="020B0604020202020204" pitchFamily="34" charset="0"/>
                <a:cs typeface="Arial" panose="020B0604020202020204" pitchFamily="34" charset="0"/>
              </a:rPr>
              <a:t>Adopt novel crop production techniques to decrease the consumption of resources like water, chemical fertilizers, and pesticides</a:t>
            </a:r>
            <a:endParaRPr lang="tr-TR" sz="8000" dirty="0">
              <a:solidFill>
                <a:srgbClr val="817A6C"/>
              </a:solidFill>
              <a:latin typeface="Arial" panose="020B0604020202020204" pitchFamily="34" charset="0"/>
              <a:cs typeface="Arial" panose="020B0604020202020204" pitchFamily="34" charset="0"/>
            </a:endParaRPr>
          </a:p>
        </p:txBody>
      </p:sp>
      <p:sp>
        <p:nvSpPr>
          <p:cNvPr id="9" name="Metin kutusu 24">
            <a:extLst>
              <a:ext uri="{FF2B5EF4-FFF2-40B4-BE49-F238E27FC236}">
                <a16:creationId xmlns:a16="http://schemas.microsoft.com/office/drawing/2014/main" id="{7770A9B8-6306-F07E-2168-22305E41E88D}"/>
              </a:ext>
            </a:extLst>
          </p:cNvPr>
          <p:cNvSpPr txBox="1"/>
          <p:nvPr/>
        </p:nvSpPr>
        <p:spPr>
          <a:xfrm>
            <a:off x="279813" y="830539"/>
            <a:ext cx="3846132" cy="1077218"/>
          </a:xfrm>
          <a:prstGeom prst="rect">
            <a:avLst/>
          </a:prstGeom>
          <a:noFill/>
        </p:spPr>
        <p:txBody>
          <a:bodyPr wrap="square" rtlCol="0">
            <a:spAutoFit/>
          </a:bodyPr>
          <a:lstStyle/>
          <a:p>
            <a:r>
              <a:rPr lang="en-US" sz="1600" b="1" u="sng" dirty="0">
                <a:solidFill>
                  <a:srgbClr val="817A6C"/>
                </a:solidFill>
                <a:latin typeface="Arial" panose="020B0604020202020204" pitchFamily="34" charset="0"/>
                <a:cs typeface="Arial" panose="020B0604020202020204" pitchFamily="34" charset="0"/>
              </a:rPr>
              <a:t>Fertilizers</a:t>
            </a:r>
          </a:p>
          <a:p>
            <a:pPr defTabSz="1244600">
              <a:spcBef>
                <a:spcPct val="0"/>
              </a:spcBef>
              <a:spcAft>
                <a:spcPts val="1400"/>
              </a:spcAft>
            </a:pPr>
            <a:r>
              <a:rPr lang="en-US" sz="1600" dirty="0">
                <a:solidFill>
                  <a:srgbClr val="817A6C"/>
                </a:solidFill>
                <a:latin typeface="Arial" panose="020B0604020202020204" pitchFamily="34" charset="0"/>
                <a:cs typeface="Arial" panose="020B0604020202020204" pitchFamily="34" charset="0"/>
              </a:rPr>
              <a:t>Source raw materials from Partnership member countries, including nitrogen, phosphorus, and sulfur</a:t>
            </a:r>
            <a:endParaRPr lang="tr-TR" sz="8000" dirty="0">
              <a:solidFill>
                <a:srgbClr val="817A6C"/>
              </a:solidFill>
              <a:latin typeface="Arial" panose="020B0604020202020204" pitchFamily="34" charset="0"/>
              <a:cs typeface="Arial" panose="020B0604020202020204" pitchFamily="34" charset="0"/>
            </a:endParaRPr>
          </a:p>
        </p:txBody>
      </p:sp>
      <p:sp>
        <p:nvSpPr>
          <p:cNvPr id="10" name="Metin kutusu 29">
            <a:extLst>
              <a:ext uri="{FF2B5EF4-FFF2-40B4-BE49-F238E27FC236}">
                <a16:creationId xmlns:a16="http://schemas.microsoft.com/office/drawing/2014/main" id="{9B5C5FE1-C649-C625-8A19-68C1FC992632}"/>
              </a:ext>
            </a:extLst>
          </p:cNvPr>
          <p:cNvSpPr txBox="1"/>
          <p:nvPr/>
        </p:nvSpPr>
        <p:spPr>
          <a:xfrm>
            <a:off x="129884" y="2147117"/>
            <a:ext cx="4158207" cy="1908215"/>
          </a:xfrm>
          <a:prstGeom prst="rect">
            <a:avLst/>
          </a:prstGeom>
          <a:noFill/>
        </p:spPr>
        <p:txBody>
          <a:bodyPr wrap="square" lIns="182880" tIns="91440" rIns="182880" bIns="91440" rtlCol="0" anchor="t">
            <a:spAutoFit/>
          </a:bodyPr>
          <a:lstStyle/>
          <a:p>
            <a:r>
              <a:rPr lang="en-US" sz="1600" b="1" u="sng" dirty="0">
                <a:solidFill>
                  <a:srgbClr val="817A6C"/>
                </a:solidFill>
                <a:latin typeface="Arial" panose="020B0604020202020204" pitchFamily="34" charset="0"/>
                <a:cs typeface="Arial" panose="020B0604020202020204" pitchFamily="34" charset="0"/>
              </a:rPr>
              <a:t>Food and Beverage</a:t>
            </a:r>
            <a:endParaRPr lang="tr-TR" sz="1600" b="1" u="sng" dirty="0">
              <a:solidFill>
                <a:srgbClr val="817A6C"/>
              </a:solidFill>
              <a:latin typeface="Arial" panose="020B0604020202020204" pitchFamily="34" charset="0"/>
              <a:cs typeface="Arial" panose="020B0604020202020204" pitchFamily="34" charset="0"/>
            </a:endParaRPr>
          </a:p>
          <a:p>
            <a:endParaRPr lang="en-US" sz="1600" u="sng" dirty="0">
              <a:solidFill>
                <a:srgbClr val="817A6C"/>
              </a:solidFill>
              <a:latin typeface="Arial" panose="020B0604020202020204" pitchFamily="34" charset="0"/>
              <a:cs typeface="Arial" panose="020B0604020202020204" pitchFamily="34" charset="0"/>
            </a:endParaRPr>
          </a:p>
          <a:p>
            <a:pPr>
              <a:spcAft>
                <a:spcPts val="1400"/>
              </a:spcAft>
            </a:pPr>
            <a:r>
              <a:rPr lang="en-US" sz="1600" dirty="0">
                <a:solidFill>
                  <a:srgbClr val="817A6C"/>
                </a:solidFill>
                <a:latin typeface="Arial" panose="020B0604020202020204" pitchFamily="34" charset="0"/>
                <a:cs typeface="Arial" panose="020B0604020202020204" pitchFamily="34" charset="0"/>
              </a:rPr>
              <a:t>Joint processing and  Logistic services for meat, vegetables and fruits, milled grain, vegetable products, bakery products, cocoa, chocolate, confectionery, pasta, vermicelli, couscous, bakery products</a:t>
            </a:r>
            <a:endParaRPr lang="tr-TR" sz="1200" dirty="0">
              <a:solidFill>
                <a:srgbClr val="817A6C"/>
              </a:solidFill>
              <a:latin typeface="Arial" panose="020B0604020202020204" pitchFamily="34" charset="0"/>
              <a:cs typeface="Arial" panose="020B0604020202020204" pitchFamily="34" charset="0"/>
            </a:endParaRPr>
          </a:p>
        </p:txBody>
      </p:sp>
      <p:sp>
        <p:nvSpPr>
          <p:cNvPr id="11" name="Metin kutusu 10">
            <a:extLst>
              <a:ext uri="{FF2B5EF4-FFF2-40B4-BE49-F238E27FC236}">
                <a16:creationId xmlns:a16="http://schemas.microsoft.com/office/drawing/2014/main" id="{C90C6081-C78A-728E-5C9D-F531C3B496FE}"/>
              </a:ext>
            </a:extLst>
          </p:cNvPr>
          <p:cNvSpPr txBox="1"/>
          <p:nvPr/>
        </p:nvSpPr>
        <p:spPr>
          <a:xfrm>
            <a:off x="4234244" y="5482976"/>
            <a:ext cx="4078052" cy="1323439"/>
          </a:xfrm>
          <a:prstGeom prst="rect">
            <a:avLst/>
          </a:prstGeom>
          <a:noFill/>
        </p:spPr>
        <p:txBody>
          <a:bodyPr wrap="square" rtlCol="0">
            <a:spAutoFit/>
          </a:bodyPr>
          <a:lstStyle/>
          <a:p>
            <a:r>
              <a:rPr lang="en-US" sz="1600" b="1" u="sng" dirty="0">
                <a:solidFill>
                  <a:srgbClr val="817A6C"/>
                </a:solidFill>
                <a:latin typeface="Arial" panose="020B0604020202020204" pitchFamily="34" charset="0"/>
                <a:cs typeface="Arial" panose="020B0604020202020204" pitchFamily="34" charset="0"/>
              </a:rPr>
              <a:t>Modern Irrigation Systems</a:t>
            </a:r>
          </a:p>
          <a:p>
            <a:endParaRPr lang="en-US" sz="1600" dirty="0">
              <a:solidFill>
                <a:srgbClr val="817A6C"/>
              </a:solidFill>
              <a:latin typeface="Arial" panose="020B0604020202020204" pitchFamily="34" charset="0"/>
              <a:cs typeface="Arial" panose="020B0604020202020204" pitchFamily="34" charset="0"/>
            </a:endParaRPr>
          </a:p>
          <a:p>
            <a:r>
              <a:rPr lang="en-US" sz="1600" dirty="0" err="1">
                <a:solidFill>
                  <a:srgbClr val="817A6C"/>
                </a:solidFill>
                <a:latin typeface="Arial" panose="020B0604020202020204" pitchFamily="34" charset="0"/>
                <a:cs typeface="Arial" panose="020B0604020202020204" pitchFamily="34" charset="0"/>
              </a:rPr>
              <a:t>Türkiye</a:t>
            </a:r>
            <a:r>
              <a:rPr lang="en-US" sz="1600" dirty="0">
                <a:solidFill>
                  <a:srgbClr val="817A6C"/>
                </a:solidFill>
                <a:latin typeface="Arial" panose="020B0604020202020204" pitchFamily="34" charset="0"/>
                <a:cs typeface="Arial" panose="020B0604020202020204" pitchFamily="34" charset="0"/>
              </a:rPr>
              <a:t> as a budding market for international irrigation system producers in the near future</a:t>
            </a:r>
            <a:endParaRPr lang="tr-TR" sz="1600" dirty="0">
              <a:solidFill>
                <a:srgbClr val="817A6C"/>
              </a:solidFill>
              <a:latin typeface="Arial" panose="020B0604020202020204" pitchFamily="34" charset="0"/>
              <a:cs typeface="Arial" panose="020B0604020202020204" pitchFamily="34" charset="0"/>
            </a:endParaRPr>
          </a:p>
        </p:txBody>
      </p:sp>
      <p:sp>
        <p:nvSpPr>
          <p:cNvPr id="12" name="Metin kutusu 11">
            <a:extLst>
              <a:ext uri="{FF2B5EF4-FFF2-40B4-BE49-F238E27FC236}">
                <a16:creationId xmlns:a16="http://schemas.microsoft.com/office/drawing/2014/main" id="{B4EF076A-0F3F-06D4-D1E1-F24DAF50F91B}"/>
              </a:ext>
            </a:extLst>
          </p:cNvPr>
          <p:cNvSpPr txBox="1"/>
          <p:nvPr/>
        </p:nvSpPr>
        <p:spPr>
          <a:xfrm>
            <a:off x="8494921" y="5049434"/>
            <a:ext cx="3604405" cy="1446550"/>
          </a:xfrm>
          <a:prstGeom prst="rect">
            <a:avLst/>
          </a:prstGeom>
          <a:noFill/>
        </p:spPr>
        <p:txBody>
          <a:bodyPr wrap="square" rtlCol="0">
            <a:spAutoFit/>
          </a:bodyPr>
          <a:lstStyle/>
          <a:p>
            <a:r>
              <a:rPr lang="tr-TR" sz="1600" b="1" u="sng" dirty="0">
                <a:solidFill>
                  <a:srgbClr val="817A6C"/>
                </a:solidFill>
                <a:latin typeface="Arial" panose="020B0604020202020204" pitchFamily="34" charset="0"/>
                <a:cs typeface="Arial" panose="020B0604020202020204" pitchFamily="34" charset="0"/>
              </a:rPr>
              <a:t>Chips</a:t>
            </a:r>
          </a:p>
          <a:p>
            <a:pPr>
              <a:lnSpc>
                <a:spcPct val="90000"/>
              </a:lnSpc>
              <a:spcBef>
                <a:spcPct val="0"/>
              </a:spcBef>
            </a:pPr>
            <a:endParaRPr lang="tr-TR" sz="1600" dirty="0">
              <a:solidFill>
                <a:srgbClr val="817A6C"/>
              </a:solidFill>
              <a:latin typeface="Arial" panose="020B0604020202020204" pitchFamily="34" charset="0"/>
              <a:cs typeface="Arial" panose="020B0604020202020204" pitchFamily="34" charset="0"/>
            </a:endParaRPr>
          </a:p>
          <a:p>
            <a:pPr>
              <a:lnSpc>
                <a:spcPct val="90000"/>
              </a:lnSpc>
              <a:spcBef>
                <a:spcPct val="0"/>
              </a:spcBef>
            </a:pPr>
            <a:r>
              <a:rPr lang="en-US" sz="1600" dirty="0">
                <a:solidFill>
                  <a:srgbClr val="817A6C"/>
                </a:solidFill>
                <a:latin typeface="Arial" panose="020B0604020202020204" pitchFamily="34" charset="0"/>
                <a:cs typeface="Arial" panose="020B0604020202020204" pitchFamily="34" charset="0"/>
              </a:rPr>
              <a:t>Mutually producing chips</a:t>
            </a:r>
          </a:p>
          <a:p>
            <a:pPr>
              <a:lnSpc>
                <a:spcPct val="90000"/>
              </a:lnSpc>
              <a:spcBef>
                <a:spcPct val="0"/>
              </a:spcBef>
            </a:pPr>
            <a:r>
              <a:rPr lang="en-US" sz="1600" dirty="0">
                <a:solidFill>
                  <a:srgbClr val="817A6C"/>
                </a:solidFill>
                <a:latin typeface="Arial" panose="020B0604020202020204" pitchFamily="34" charset="0"/>
                <a:cs typeface="Arial" panose="020B0604020202020204" pitchFamily="34" charset="0"/>
              </a:rPr>
              <a:t>Foster cooperation to avoid</a:t>
            </a:r>
            <a:r>
              <a:rPr lang="tr-TR" sz="1600" dirty="0">
                <a:solidFill>
                  <a:srgbClr val="817A6C"/>
                </a:solidFill>
                <a:latin typeface="Arial" panose="020B0604020202020204" pitchFamily="34" charset="0"/>
                <a:cs typeface="Arial" panose="020B0604020202020204" pitchFamily="34" charset="0"/>
              </a:rPr>
              <a:t> </a:t>
            </a:r>
            <a:r>
              <a:rPr lang="en-US" sz="1600" dirty="0">
                <a:solidFill>
                  <a:srgbClr val="817A6C"/>
                </a:solidFill>
                <a:latin typeface="Arial" panose="020B0604020202020204" pitchFamily="34" charset="0"/>
                <a:cs typeface="Arial" panose="020B0604020202020204" pitchFamily="34" charset="0"/>
              </a:rPr>
              <a:t>semiconductor shortages</a:t>
            </a:r>
          </a:p>
          <a:p>
            <a:pPr>
              <a:lnSpc>
                <a:spcPct val="90000"/>
              </a:lnSpc>
              <a:spcBef>
                <a:spcPct val="0"/>
              </a:spcBef>
            </a:pPr>
            <a:r>
              <a:rPr lang="en-US" sz="1600" dirty="0">
                <a:solidFill>
                  <a:srgbClr val="817A6C"/>
                </a:solidFill>
                <a:latin typeface="Arial" panose="020B0604020202020204" pitchFamily="34" charset="0"/>
                <a:cs typeface="Arial" panose="020B0604020202020204" pitchFamily="34" charset="0"/>
              </a:rPr>
              <a:t>Strengthen regional value chain</a:t>
            </a:r>
            <a:endParaRPr lang="tr-TR" sz="1600" dirty="0">
              <a:solidFill>
                <a:srgbClr val="817A6C"/>
              </a:solidFill>
              <a:latin typeface="Arial" panose="020B0604020202020204" pitchFamily="34" charset="0"/>
              <a:cs typeface="Arial" panose="020B0604020202020204" pitchFamily="34" charset="0"/>
            </a:endParaRPr>
          </a:p>
        </p:txBody>
      </p:sp>
      <p:sp>
        <p:nvSpPr>
          <p:cNvPr id="13" name="Metin kutusu 25">
            <a:extLst>
              <a:ext uri="{FF2B5EF4-FFF2-40B4-BE49-F238E27FC236}">
                <a16:creationId xmlns:a16="http://schemas.microsoft.com/office/drawing/2014/main" id="{B0813293-60A6-F9FC-43F8-2C2245DDFD17}"/>
              </a:ext>
            </a:extLst>
          </p:cNvPr>
          <p:cNvSpPr txBox="1"/>
          <p:nvPr/>
        </p:nvSpPr>
        <p:spPr>
          <a:xfrm>
            <a:off x="277396" y="4332531"/>
            <a:ext cx="3781478" cy="1772793"/>
          </a:xfrm>
          <a:prstGeom prst="rect">
            <a:avLst/>
          </a:prstGeom>
          <a:noFill/>
        </p:spPr>
        <p:txBody>
          <a:bodyPr wrap="square" rtlCol="0">
            <a:spAutoFit/>
          </a:bodyPr>
          <a:lstStyle/>
          <a:p>
            <a:r>
              <a:rPr lang="en-US" sz="1600" b="1" u="sng" dirty="0">
                <a:solidFill>
                  <a:srgbClr val="817A6C"/>
                </a:solidFill>
                <a:latin typeface="Arial" panose="020B0604020202020204" pitchFamily="34" charset="0"/>
                <a:cs typeface="Arial" panose="020B0604020202020204" pitchFamily="34" charset="0"/>
              </a:rPr>
              <a:t>Steel, Aluminum and Copper</a:t>
            </a:r>
            <a:endParaRPr lang="tr-TR" sz="1600" b="1" u="sng" dirty="0">
              <a:solidFill>
                <a:srgbClr val="817A6C"/>
              </a:solidFill>
              <a:latin typeface="Arial" panose="020B0604020202020204" pitchFamily="34" charset="0"/>
              <a:cs typeface="Arial" panose="020B0604020202020204" pitchFamily="34" charset="0"/>
            </a:endParaRPr>
          </a:p>
          <a:p>
            <a:endParaRPr lang="en-US" sz="1600" u="sng" dirty="0">
              <a:solidFill>
                <a:srgbClr val="817A6C"/>
              </a:solidFill>
              <a:latin typeface="Arial" panose="020B0604020202020204" pitchFamily="34" charset="0"/>
              <a:cs typeface="Arial" panose="020B0604020202020204" pitchFamily="34" charset="0"/>
            </a:endParaRPr>
          </a:p>
          <a:p>
            <a:pPr defTabSz="533400">
              <a:spcBef>
                <a:spcPct val="0"/>
              </a:spcBef>
              <a:spcAft>
                <a:spcPct val="35000"/>
              </a:spcAft>
            </a:pPr>
            <a:r>
              <a:rPr lang="en-US" sz="1600" dirty="0">
                <a:solidFill>
                  <a:srgbClr val="817A6C"/>
                </a:solidFill>
                <a:latin typeface="Arial" panose="020B0604020202020204" pitchFamily="34" charset="0"/>
                <a:cs typeface="Arial" panose="020B0604020202020204" pitchFamily="34" charset="0"/>
              </a:rPr>
              <a:t>Increase mutual trade </a:t>
            </a:r>
          </a:p>
          <a:p>
            <a:pPr defTabSz="533400">
              <a:spcBef>
                <a:spcPct val="0"/>
              </a:spcBef>
              <a:spcAft>
                <a:spcPct val="35000"/>
              </a:spcAft>
            </a:pPr>
            <a:r>
              <a:rPr lang="en-US" sz="1600" dirty="0">
                <a:solidFill>
                  <a:srgbClr val="817A6C"/>
                </a:solidFill>
                <a:latin typeface="Arial" panose="020B0604020202020204" pitchFamily="34" charset="0"/>
                <a:cs typeface="Arial" panose="020B0604020202020204" pitchFamily="34" charset="0"/>
              </a:rPr>
              <a:t>Mutual production of primary aluminum and sponge iron</a:t>
            </a:r>
          </a:p>
          <a:p>
            <a:endParaRPr lang="tr-TR" sz="1600" dirty="0">
              <a:solidFill>
                <a:srgbClr val="817A6C"/>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967818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E33D3C-01F2-33DB-E042-8C304519E4E8}"/>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id="{52A0C165-C9D0-9F92-4FFA-F08DB5535517}"/>
              </a:ext>
            </a:extLst>
          </p:cNvPr>
          <p:cNvGraphicFramePr>
            <a:graphicFrameLocks noChangeAspect="1"/>
          </p:cNvGraphicFramePr>
          <p:nvPr>
            <p:custDataLst>
              <p:tags r:id="rId2"/>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name="think-cell Slide" r:id="rId6" imgW="606" imgH="608" progId="TCLayout.ActiveDocument.1">
                  <p:embed/>
                </p:oleObj>
              </mc:Choice>
              <mc:Fallback>
                <p:oleObj name="think-cell Slide" r:id="rId6" imgW="606" imgH="608" progId="TCLayout.ActiveDocument.1">
                  <p:embed/>
                  <p:pic>
                    <p:nvPicPr>
                      <p:cNvPr id="4" name="Object 3" hidden="1">
                        <a:extLst>
                          <a:ext uri="{FF2B5EF4-FFF2-40B4-BE49-F238E27FC236}">
                            <a16:creationId xmlns:a16="http://schemas.microsoft.com/office/drawing/2014/main" id="{52A0C165-C9D0-9F92-4FFA-F08DB5535517}"/>
                          </a:ext>
                        </a:extLst>
                      </p:cNvPr>
                      <p:cNvPicPr/>
                      <p:nvPr/>
                    </p:nvPicPr>
                    <p:blipFill>
                      <a:blip r:embed="rId7"/>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BCA9AEE-9B68-7E2F-D3C6-0AE9A51C6719}"/>
              </a:ext>
            </a:extLst>
          </p:cNvPr>
          <p:cNvSpPr/>
          <p:nvPr>
            <p:custDataLst>
              <p:tags r:id="rId3"/>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id="{FD69C9E5-FE3E-F6AF-C06A-C6609C593695}"/>
              </a:ext>
            </a:extLst>
          </p:cNvPr>
          <p:cNvSpPr txBox="1">
            <a:spLocks/>
          </p:cNvSpPr>
          <p:nvPr/>
        </p:nvSpPr>
        <p:spPr>
          <a:xfrm flipH="1">
            <a:off x="287403" y="504054"/>
            <a:ext cx="11617194" cy="449577"/>
          </a:xfrm>
          <a:prstGeom prst="rect">
            <a:avLst/>
          </a:prstGeom>
        </p:spPr>
        <p:txBody>
          <a:bodyPr vert="horz" wrap="square" lIns="0" tIns="0" rIns="0" bIns="0" rtlCol="0" anchor="t">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1" eaLnBrk="1" fontAlgn="auto" latinLnBrk="0" hangingPunct="1">
              <a:lnSpc>
                <a:spcPct val="90000"/>
              </a:lnSpc>
              <a:spcBef>
                <a:spcPct val="0"/>
              </a:spcBef>
              <a:spcAft>
                <a:spcPts val="0"/>
              </a:spcAft>
              <a:buClrTx/>
              <a:buSzTx/>
              <a:buFontTx/>
              <a:buNone/>
              <a:tabLst/>
              <a:defRPr/>
            </a:pPr>
            <a:r>
              <a:rPr lang="en-US" dirty="0">
                <a:solidFill>
                  <a:schemeClr val="accent4">
                    <a:lumMod val="50000"/>
                  </a:schemeClr>
                </a:solidFill>
                <a:latin typeface="Arial" panose="020B0604020202020204" pitchFamily="34" charset="0"/>
                <a:ea typeface="+mj-ea"/>
                <a:cs typeface="+mn-cs"/>
                <a:sym typeface="Sakkal Majalla" panose="02000000000000000000" pitchFamily="2" charset="-78"/>
              </a:rPr>
              <a:t>Agenda</a:t>
            </a:r>
          </a:p>
        </p:txBody>
      </p:sp>
      <p:cxnSp>
        <p:nvCxnSpPr>
          <p:cNvPr id="2" name="Straight Connector 1">
            <a:extLst>
              <a:ext uri="{FF2B5EF4-FFF2-40B4-BE49-F238E27FC236}">
                <a16:creationId xmlns:a16="http://schemas.microsoft.com/office/drawing/2014/main" id="{40D78A35-7C4F-028F-3D9A-81DF33C45026}"/>
              </a:ext>
            </a:extLst>
          </p:cNvPr>
          <p:cNvCxnSpPr>
            <a:cxnSpLocks/>
          </p:cNvCxnSpPr>
          <p:nvPr/>
        </p:nvCxnSpPr>
        <p:spPr>
          <a:xfrm>
            <a:off x="301558" y="1084462"/>
            <a:ext cx="6031105"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A white wavy paper on a white background&#10;&#10;Description automatically generated">
            <a:extLst>
              <a:ext uri="{FF2B5EF4-FFF2-40B4-BE49-F238E27FC236}">
                <a16:creationId xmlns:a16="http://schemas.microsoft.com/office/drawing/2014/main" id="{44B7FAD9-27E4-2E7F-B0F7-20690D48A473}"/>
              </a:ext>
            </a:extLst>
          </p:cNvPr>
          <p:cNvPicPr>
            <a:picLocks noChangeAspect="1"/>
          </p:cNvPicPr>
          <p:nvPr/>
        </p:nvPicPr>
        <p:blipFill rotWithShape="1">
          <a:blip r:embed="rId8" cstate="email">
            <a:alphaModFix amt="37000"/>
            <a:extLst>
              <a:ext uri="{28A0092B-C50C-407E-A947-70E740481C1C}">
                <a14:useLocalDpi xmlns:a14="http://schemas.microsoft.com/office/drawing/2010/main"/>
              </a:ext>
            </a:extLst>
          </a:blip>
          <a:srcRect/>
          <a:stretch/>
        </p:blipFill>
        <p:spPr>
          <a:xfrm>
            <a:off x="486661" y="3536481"/>
            <a:ext cx="11129846" cy="397713"/>
          </a:xfrm>
          <a:prstGeom prst="rect">
            <a:avLst/>
          </a:prstGeom>
          <a:ln>
            <a:solidFill>
              <a:srgbClr val="7F6000"/>
            </a:solidFill>
          </a:ln>
        </p:spPr>
      </p:pic>
      <p:sp>
        <p:nvSpPr>
          <p:cNvPr id="8" name="Rectangle 7">
            <a:extLst>
              <a:ext uri="{FF2B5EF4-FFF2-40B4-BE49-F238E27FC236}">
                <a16:creationId xmlns:a16="http://schemas.microsoft.com/office/drawing/2014/main" id="{C7DFFB98-13E3-45B5-CC12-B79C1802AA16}"/>
              </a:ext>
            </a:extLst>
          </p:cNvPr>
          <p:cNvSpPr/>
          <p:nvPr/>
        </p:nvSpPr>
        <p:spPr>
          <a:xfrm>
            <a:off x="502024" y="1186215"/>
            <a:ext cx="7714749"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Item</a:t>
            </a:r>
            <a:endParaRPr lang="en-US" sz="2400" dirty="0">
              <a:solidFill>
                <a:srgbClr val="866A2C"/>
              </a:solidFill>
              <a:latin typeface="Sakkal Majalla" panose="02000000000000000000" pitchFamily="2" charset="-78"/>
            </a:endParaRPr>
          </a:p>
        </p:txBody>
      </p:sp>
      <p:cxnSp>
        <p:nvCxnSpPr>
          <p:cNvPr id="9" name="Straight Connector 8">
            <a:extLst>
              <a:ext uri="{FF2B5EF4-FFF2-40B4-BE49-F238E27FC236}">
                <a16:creationId xmlns:a16="http://schemas.microsoft.com/office/drawing/2014/main" id="{2F6056C3-0D19-6FF7-763D-D999861B4B23}"/>
              </a:ext>
            </a:extLst>
          </p:cNvPr>
          <p:cNvCxnSpPr>
            <a:cxnSpLocks/>
          </p:cNvCxnSpPr>
          <p:nvPr/>
        </p:nvCxnSpPr>
        <p:spPr>
          <a:xfrm flipH="1">
            <a:off x="575493" y="1755113"/>
            <a:ext cx="1161650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175A7587-E1C0-E65D-BFB5-678D7BA12240}"/>
              </a:ext>
            </a:extLst>
          </p:cNvPr>
          <p:cNvSpPr/>
          <p:nvPr/>
        </p:nvSpPr>
        <p:spPr>
          <a:xfrm>
            <a:off x="7342277" y="1186215"/>
            <a:ext cx="1787210"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Time (UAE)</a:t>
            </a:r>
            <a:endParaRPr lang="en-US" sz="2400" dirty="0">
              <a:solidFill>
                <a:srgbClr val="866A2C"/>
              </a:solidFill>
              <a:latin typeface="Sakkal Majalla" panose="02000000000000000000" pitchFamily="2" charset="-78"/>
            </a:endParaRPr>
          </a:p>
        </p:txBody>
      </p:sp>
      <p:sp>
        <p:nvSpPr>
          <p:cNvPr id="12" name="Rectangle 11">
            <a:extLst>
              <a:ext uri="{FF2B5EF4-FFF2-40B4-BE49-F238E27FC236}">
                <a16:creationId xmlns:a16="http://schemas.microsoft.com/office/drawing/2014/main" id="{D80CADE2-F024-DD0B-3B30-223857689CF8}"/>
              </a:ext>
            </a:extLst>
          </p:cNvPr>
          <p:cNvSpPr/>
          <p:nvPr/>
        </p:nvSpPr>
        <p:spPr>
          <a:xfrm>
            <a:off x="9767138" y="1186215"/>
            <a:ext cx="1787210"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Time (Qatar)</a:t>
            </a:r>
            <a:endParaRPr lang="en-US" sz="2400" dirty="0">
              <a:solidFill>
                <a:srgbClr val="866A2C"/>
              </a:solidFill>
              <a:latin typeface="Sakkal Majalla" panose="02000000000000000000" pitchFamily="2" charset="-78"/>
            </a:endParaRPr>
          </a:p>
        </p:txBody>
      </p:sp>
      <p:sp>
        <p:nvSpPr>
          <p:cNvPr id="14" name="Rectangle 13">
            <a:extLst>
              <a:ext uri="{FF2B5EF4-FFF2-40B4-BE49-F238E27FC236}">
                <a16:creationId xmlns:a16="http://schemas.microsoft.com/office/drawing/2014/main" id="{3F74BF9A-E7B0-AE8F-446E-EFEBA07E5E7F}"/>
              </a:ext>
            </a:extLst>
          </p:cNvPr>
          <p:cNvSpPr/>
          <p:nvPr/>
        </p:nvSpPr>
        <p:spPr>
          <a:xfrm>
            <a:off x="9376660" y="5880258"/>
            <a:ext cx="1407669" cy="600740"/>
          </a:xfrm>
          <a:prstGeom prst="rect">
            <a:avLst/>
          </a:prstGeom>
        </p:spPr>
        <p:txBody>
          <a:bodyPr vert="horz" wrap="square" lIns="0" tIns="0" rIns="0" bIns="0" rtlCol="0" anchor="t">
            <a:noAutofit/>
          </a:bodyPr>
          <a:lstStyle/>
          <a:p>
            <a:pPr algn="ctr" rtl="1">
              <a:lnSpc>
                <a:spcPct val="90000"/>
              </a:lnSpc>
              <a:spcBef>
                <a:spcPct val="0"/>
              </a:spcBef>
            </a:pPr>
            <a:r>
              <a:rPr lang="en-US" sz="1600" b="1" dirty="0">
                <a:solidFill>
                  <a:srgbClr val="866A2C"/>
                </a:solidFill>
                <a:latin typeface="Arial" panose="020B0604020202020204" pitchFamily="34" charset="0"/>
                <a:ea typeface="+mj-ea"/>
                <a:cs typeface="Arial" panose="020B0604020202020204" pitchFamily="34" charset="0"/>
              </a:rPr>
              <a:t>Attendance Registration and Feedback</a:t>
            </a:r>
            <a:endParaRPr lang="ar-AE" sz="1600" b="1" dirty="0">
              <a:solidFill>
                <a:srgbClr val="866A2C"/>
              </a:solidFill>
              <a:latin typeface="Arial" panose="020B0604020202020204" pitchFamily="34" charset="0"/>
              <a:ea typeface="+mj-ea"/>
              <a:cs typeface="Arial" panose="020B0604020202020204" pitchFamily="34" charset="0"/>
            </a:endParaRPr>
          </a:p>
        </p:txBody>
      </p:sp>
      <p:sp>
        <p:nvSpPr>
          <p:cNvPr id="17" name="Rectangle 16">
            <a:extLst>
              <a:ext uri="{FF2B5EF4-FFF2-40B4-BE49-F238E27FC236}">
                <a16:creationId xmlns:a16="http://schemas.microsoft.com/office/drawing/2014/main" id="{D64E339D-6E06-85F7-20BE-B12010ABA9C5}"/>
              </a:ext>
            </a:extLst>
          </p:cNvPr>
          <p:cNvSpPr/>
          <p:nvPr/>
        </p:nvSpPr>
        <p:spPr>
          <a:xfrm>
            <a:off x="575493" y="1791937"/>
            <a:ext cx="6766783" cy="4611519"/>
          </a:xfrm>
          <a:prstGeom prst="rect">
            <a:avLst/>
          </a:prstGeom>
        </p:spPr>
        <p:txBody>
          <a:bodyPr wrap="square">
            <a:spAutoFit/>
          </a:bodyPr>
          <a:lstStyle/>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Welcome, Objectives and Agenda</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the industrial partnership</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Qatar Industrial Landscape</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Türkiye Industrial Landscape</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Companies Introduction and preliminary discussion</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Pharmaceuticals </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Agriculture, Food and Fertilizers </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Chemicals, Plastics And Downstream Products</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Metals, Minerals And Downstream Products</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Textiles</a:t>
            </a:r>
          </a:p>
          <a:p>
            <a:pPr marL="457200" indent="-457200" algn="l">
              <a:lnSpc>
                <a:spcPct val="150000"/>
              </a:lnSpc>
              <a:buFont typeface="+mj-lt"/>
              <a:buAutoNum type="arabicPeriod"/>
            </a:pPr>
            <a:endParaRPr lang="en-US" b="1" dirty="0">
              <a:solidFill>
                <a:srgbClr val="817A6C"/>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6F1DE0A2-CDCC-A2EC-18DE-A5002E23ABEF}"/>
              </a:ext>
            </a:extLst>
          </p:cNvPr>
          <p:cNvSpPr/>
          <p:nvPr/>
        </p:nvSpPr>
        <p:spPr>
          <a:xfrm>
            <a:off x="9811974" y="1755113"/>
            <a:ext cx="2034385" cy="2534027"/>
          </a:xfrm>
          <a:prstGeom prst="rect">
            <a:avLst/>
          </a:prstGeom>
        </p:spPr>
        <p:txBody>
          <a:bodyPr wrap="square">
            <a:spAutoFit/>
          </a:bodyPr>
          <a:lstStyle/>
          <a:p>
            <a:pPr>
              <a:lnSpc>
                <a:spcPct val="150000"/>
              </a:lnSpc>
            </a:pPr>
            <a:r>
              <a:rPr lang="en-US" b="1" dirty="0">
                <a:solidFill>
                  <a:srgbClr val="817A6C"/>
                </a:solidFill>
                <a:latin typeface="Arial" panose="020B0604020202020204" pitchFamily="34" charset="0"/>
                <a:cs typeface="Arial" panose="020B0604020202020204" pitchFamily="34" charset="0"/>
              </a:rPr>
              <a:t>12:00 – 12:05</a:t>
            </a:r>
          </a:p>
          <a:p>
            <a:pPr>
              <a:lnSpc>
                <a:spcPct val="150000"/>
              </a:lnSpc>
            </a:pPr>
            <a:r>
              <a:rPr lang="en-US" b="1" dirty="0">
                <a:solidFill>
                  <a:srgbClr val="817A6C"/>
                </a:solidFill>
                <a:latin typeface="Arial" panose="020B0604020202020204" pitchFamily="34" charset="0"/>
                <a:cs typeface="Arial" panose="020B0604020202020204" pitchFamily="34" charset="0"/>
              </a:rPr>
              <a:t>12:05 – 12:15</a:t>
            </a:r>
          </a:p>
          <a:p>
            <a:pPr>
              <a:lnSpc>
                <a:spcPct val="150000"/>
              </a:lnSpc>
            </a:pPr>
            <a:r>
              <a:rPr lang="en-US" b="1" dirty="0">
                <a:solidFill>
                  <a:srgbClr val="817A6C"/>
                </a:solidFill>
                <a:latin typeface="Arial" panose="020B0604020202020204" pitchFamily="34" charset="0"/>
                <a:cs typeface="Arial" panose="020B0604020202020204" pitchFamily="34" charset="0"/>
              </a:rPr>
              <a:t>12:15 – 12:25</a:t>
            </a:r>
          </a:p>
          <a:p>
            <a:pPr>
              <a:lnSpc>
                <a:spcPct val="150000"/>
              </a:lnSpc>
            </a:pPr>
            <a:r>
              <a:rPr lang="en-US" b="1" dirty="0">
                <a:solidFill>
                  <a:srgbClr val="817A6C"/>
                </a:solidFill>
                <a:latin typeface="Arial" panose="020B0604020202020204" pitchFamily="34" charset="0"/>
                <a:cs typeface="Arial" panose="020B0604020202020204" pitchFamily="34" charset="0"/>
              </a:rPr>
              <a:t>12:25 – 12:35</a:t>
            </a:r>
          </a:p>
          <a:p>
            <a:pPr>
              <a:lnSpc>
                <a:spcPct val="150000"/>
              </a:lnSpc>
            </a:pPr>
            <a:r>
              <a:rPr lang="en-US" b="1" dirty="0">
                <a:solidFill>
                  <a:srgbClr val="817A6C"/>
                </a:solidFill>
                <a:latin typeface="Arial" panose="020B0604020202020204" pitchFamily="34" charset="0"/>
                <a:cs typeface="Arial" panose="020B0604020202020204" pitchFamily="34" charset="0"/>
              </a:rPr>
              <a:t>12:35 – 14:00</a:t>
            </a:r>
          </a:p>
          <a:p>
            <a:pPr>
              <a:lnSpc>
                <a:spcPct val="150000"/>
              </a:lnSpc>
            </a:pPr>
            <a:endParaRPr lang="ar-AE" b="1" dirty="0">
              <a:solidFill>
                <a:srgbClr val="817A6C"/>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EFB82293-C923-A26B-555F-93EAC944A332}"/>
              </a:ext>
            </a:extLst>
          </p:cNvPr>
          <p:cNvSpPr/>
          <p:nvPr/>
        </p:nvSpPr>
        <p:spPr>
          <a:xfrm>
            <a:off x="7273049" y="1755113"/>
            <a:ext cx="2034385" cy="2534027"/>
          </a:xfrm>
          <a:prstGeom prst="rect">
            <a:avLst/>
          </a:prstGeom>
        </p:spPr>
        <p:txBody>
          <a:bodyPr wrap="square">
            <a:spAutoFit/>
          </a:bodyPr>
          <a:lstStyle/>
          <a:p>
            <a:pPr>
              <a:lnSpc>
                <a:spcPct val="150000"/>
              </a:lnSpc>
            </a:pPr>
            <a:r>
              <a:rPr lang="en-US" b="1" dirty="0">
                <a:solidFill>
                  <a:srgbClr val="817A6C"/>
                </a:solidFill>
                <a:latin typeface="Arial" panose="020B0604020202020204" pitchFamily="34" charset="0"/>
                <a:cs typeface="Arial" panose="020B0604020202020204" pitchFamily="34" charset="0"/>
              </a:rPr>
              <a:t>13:00 – 13:05</a:t>
            </a:r>
          </a:p>
          <a:p>
            <a:pPr>
              <a:lnSpc>
                <a:spcPct val="150000"/>
              </a:lnSpc>
            </a:pPr>
            <a:r>
              <a:rPr lang="en-US" b="1" dirty="0">
                <a:solidFill>
                  <a:srgbClr val="817A6C"/>
                </a:solidFill>
                <a:latin typeface="Arial" panose="020B0604020202020204" pitchFamily="34" charset="0"/>
                <a:cs typeface="Arial" panose="020B0604020202020204" pitchFamily="34" charset="0"/>
              </a:rPr>
              <a:t>13:05 – 13:15</a:t>
            </a:r>
          </a:p>
          <a:p>
            <a:pPr>
              <a:lnSpc>
                <a:spcPct val="150000"/>
              </a:lnSpc>
            </a:pPr>
            <a:r>
              <a:rPr lang="en-US" b="1" dirty="0">
                <a:solidFill>
                  <a:srgbClr val="817A6C"/>
                </a:solidFill>
                <a:latin typeface="Arial" panose="020B0604020202020204" pitchFamily="34" charset="0"/>
                <a:cs typeface="Arial" panose="020B0604020202020204" pitchFamily="34" charset="0"/>
              </a:rPr>
              <a:t>13:15 – 13:25</a:t>
            </a:r>
          </a:p>
          <a:p>
            <a:pPr>
              <a:lnSpc>
                <a:spcPct val="150000"/>
              </a:lnSpc>
            </a:pPr>
            <a:r>
              <a:rPr lang="en-US" b="1" dirty="0">
                <a:solidFill>
                  <a:srgbClr val="817A6C"/>
                </a:solidFill>
                <a:latin typeface="Arial" panose="020B0604020202020204" pitchFamily="34" charset="0"/>
                <a:cs typeface="Arial" panose="020B0604020202020204" pitchFamily="34" charset="0"/>
              </a:rPr>
              <a:t>14:25 – 14:35</a:t>
            </a:r>
          </a:p>
          <a:p>
            <a:pPr>
              <a:lnSpc>
                <a:spcPct val="150000"/>
              </a:lnSpc>
            </a:pPr>
            <a:r>
              <a:rPr lang="en-US" b="1" dirty="0">
                <a:solidFill>
                  <a:srgbClr val="817A6C"/>
                </a:solidFill>
                <a:latin typeface="Arial" panose="020B0604020202020204" pitchFamily="34" charset="0"/>
                <a:cs typeface="Arial" panose="020B0604020202020204" pitchFamily="34" charset="0"/>
              </a:rPr>
              <a:t>14:35 – 15:00</a:t>
            </a:r>
          </a:p>
          <a:p>
            <a:pPr>
              <a:lnSpc>
                <a:spcPct val="150000"/>
              </a:lnSpc>
            </a:pPr>
            <a:endParaRPr lang="ar-AE" b="1" dirty="0">
              <a:solidFill>
                <a:srgbClr val="817A6C"/>
              </a:solidFill>
              <a:latin typeface="Arial" panose="020B0604020202020204" pitchFamily="34" charset="0"/>
              <a:cs typeface="Arial" panose="020B0604020202020204" pitchFamily="34" charset="0"/>
            </a:endParaRPr>
          </a:p>
        </p:txBody>
      </p:sp>
      <p:pic>
        <p:nvPicPr>
          <p:cNvPr id="20" name="Picture 19">
            <a:extLst>
              <a:ext uri="{FF2B5EF4-FFF2-40B4-BE49-F238E27FC236}">
                <a16:creationId xmlns:a16="http://schemas.microsoft.com/office/drawing/2014/main" id="{04987D64-5993-A59E-4095-7178F19FFE09}"/>
              </a:ext>
            </a:extLst>
          </p:cNvPr>
          <p:cNvPicPr>
            <a:picLocks noChangeAspect="1"/>
          </p:cNvPicPr>
          <p:nvPr/>
        </p:nvPicPr>
        <p:blipFill>
          <a:blip r:embed="rId9"/>
          <a:stretch>
            <a:fillRect/>
          </a:stretch>
        </p:blipFill>
        <p:spPr>
          <a:xfrm>
            <a:off x="9422320" y="4540087"/>
            <a:ext cx="1238423" cy="1257475"/>
          </a:xfrm>
          <a:prstGeom prst="rect">
            <a:avLst/>
          </a:prstGeom>
        </p:spPr>
      </p:pic>
    </p:spTree>
    <p:custDataLst>
      <p:custData r:id="rId1"/>
    </p:custDataLst>
    <p:extLst>
      <p:ext uri="{BB962C8B-B14F-4D97-AF65-F5344CB8AC3E}">
        <p14:creationId xmlns:p14="http://schemas.microsoft.com/office/powerpoint/2010/main" val="923722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CA9BA6-5E93-BBF2-B0DB-D64A96E2988F}"/>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id="{E1B2CB5E-41BD-AA28-B9D2-0A12E16C6BB1}"/>
              </a:ext>
            </a:extLst>
          </p:cNvPr>
          <p:cNvGraphicFramePr>
            <a:graphicFrameLocks noChangeAspect="1"/>
          </p:cNvGraphicFramePr>
          <p:nvPr>
            <p:custDataLst>
              <p:tags r:id="rId2"/>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name="think-cell Slide" r:id="rId6" imgW="606" imgH="608" progId="TCLayout.ActiveDocument.1">
                  <p:embed/>
                </p:oleObj>
              </mc:Choice>
              <mc:Fallback>
                <p:oleObj name="think-cell Slide" r:id="rId6" imgW="606" imgH="608" progId="TCLayout.ActiveDocument.1">
                  <p:embed/>
                  <p:pic>
                    <p:nvPicPr>
                      <p:cNvPr id="4" name="Object 3" hidden="1">
                        <a:extLst>
                          <a:ext uri="{FF2B5EF4-FFF2-40B4-BE49-F238E27FC236}">
                            <a16:creationId xmlns:a16="http://schemas.microsoft.com/office/drawing/2014/main" id="{E1B2CB5E-41BD-AA28-B9D2-0A12E16C6BB1}"/>
                          </a:ext>
                        </a:extLst>
                      </p:cNvPr>
                      <p:cNvPicPr/>
                      <p:nvPr/>
                    </p:nvPicPr>
                    <p:blipFill>
                      <a:blip r:embed="rId7"/>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AA424AD-F767-1373-C98C-B30A017D3AE1}"/>
              </a:ext>
            </a:extLst>
          </p:cNvPr>
          <p:cNvSpPr/>
          <p:nvPr>
            <p:custDataLst>
              <p:tags r:id="rId3"/>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id="{3D7CD28B-546B-B1C0-6C25-D41D1399386D}"/>
              </a:ext>
            </a:extLst>
          </p:cNvPr>
          <p:cNvSpPr txBox="1">
            <a:spLocks/>
          </p:cNvSpPr>
          <p:nvPr/>
        </p:nvSpPr>
        <p:spPr>
          <a:xfrm flipH="1">
            <a:off x="287403" y="147191"/>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Introduction to the participating companies and initial discussion of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cooperation opportunities</a:t>
            </a:r>
          </a:p>
        </p:txBody>
      </p:sp>
      <p:cxnSp>
        <p:nvCxnSpPr>
          <p:cNvPr id="2" name="Straight Connector 1">
            <a:extLst>
              <a:ext uri="{FF2B5EF4-FFF2-40B4-BE49-F238E27FC236}">
                <a16:creationId xmlns:a16="http://schemas.microsoft.com/office/drawing/2014/main" id="{2823A15E-F6D0-3F16-4A36-5A59FAC3F29B}"/>
              </a:ext>
            </a:extLst>
          </p:cNvPr>
          <p:cNvCxnSpPr/>
          <p:nvPr/>
        </p:nvCxnSpPr>
        <p:spPr>
          <a:xfrm>
            <a:off x="174526" y="778131"/>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17">
            <a:extLst>
              <a:ext uri="{FF2B5EF4-FFF2-40B4-BE49-F238E27FC236}">
                <a16:creationId xmlns:a16="http://schemas.microsoft.com/office/drawing/2014/main" id="{BB702480-1710-1EBA-DF0C-61E86215D8AC}"/>
              </a:ext>
            </a:extLst>
          </p:cNvPr>
          <p:cNvSpPr/>
          <p:nvPr/>
        </p:nvSpPr>
        <p:spPr>
          <a:xfrm rot="10800000">
            <a:off x="12056882" y="0"/>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9" name="Rectangle 8">
            <a:extLst>
              <a:ext uri="{FF2B5EF4-FFF2-40B4-BE49-F238E27FC236}">
                <a16:creationId xmlns:a16="http://schemas.microsoft.com/office/drawing/2014/main" id="{C4C72218-84FE-A778-B44E-096ADD7F54AA}"/>
              </a:ext>
            </a:extLst>
          </p:cNvPr>
          <p:cNvSpPr/>
          <p:nvPr/>
        </p:nvSpPr>
        <p:spPr>
          <a:xfrm>
            <a:off x="174526" y="1252724"/>
            <a:ext cx="11730071" cy="1574214"/>
          </a:xfrm>
          <a:prstGeom prst="rect">
            <a:avLst/>
          </a:prstGeom>
        </p:spPr>
        <p:txBody>
          <a:bodyPr wrap="square">
            <a:spAutoFit/>
          </a:bodyPr>
          <a:lstStyle/>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Company introduction  </a:t>
            </a:r>
          </a:p>
          <a:p>
            <a:pPr marL="457200" indent="-457200">
              <a:lnSpc>
                <a:spcPct val="150000"/>
              </a:lnSpc>
              <a:spcBef>
                <a:spcPts val="1200"/>
              </a:spcBef>
              <a:buFont typeface="+mj-lt"/>
              <a:buAutoNum type="arabicPeriod"/>
            </a:pPr>
            <a:r>
              <a:rPr lang="en-US" sz="2000" b="1" dirty="0">
                <a:solidFill>
                  <a:srgbClr val="817A6C"/>
                </a:solidFill>
                <a:latin typeface="Arial" panose="020B0604020202020204" pitchFamily="34" charset="0"/>
                <a:cs typeface="Arial" panose="020B0604020202020204" pitchFamily="34" charset="0"/>
              </a:rPr>
              <a:t>Initial views on industrial partnership opportunities between Türkiye and the partnership countries</a:t>
            </a:r>
          </a:p>
        </p:txBody>
      </p:sp>
      <p:sp>
        <p:nvSpPr>
          <p:cNvPr id="5" name="Rectangle 4">
            <a:extLst>
              <a:ext uri="{FF2B5EF4-FFF2-40B4-BE49-F238E27FC236}">
                <a16:creationId xmlns:a16="http://schemas.microsoft.com/office/drawing/2014/main" id="{014150B5-1AE9-D2CA-C339-E137FDC04D0B}"/>
              </a:ext>
            </a:extLst>
          </p:cNvPr>
          <p:cNvSpPr/>
          <p:nvPr/>
        </p:nvSpPr>
        <p:spPr>
          <a:xfrm>
            <a:off x="1253191" y="4357198"/>
            <a:ext cx="6455709" cy="958660"/>
          </a:xfrm>
          <a:prstGeom prst="rect">
            <a:avLst/>
          </a:prstGeom>
        </p:spPr>
        <p:txBody>
          <a:bodyPr wrap="square">
            <a:spAutoFit/>
          </a:bodyPr>
          <a:lstStyle/>
          <a:p>
            <a:pPr>
              <a:lnSpc>
                <a:spcPct val="150000"/>
              </a:lnSpc>
              <a:spcBef>
                <a:spcPts val="1200"/>
              </a:spcBef>
            </a:pPr>
            <a:r>
              <a:rPr lang="en-US" sz="2000" b="1" dirty="0">
                <a:solidFill>
                  <a:srgbClr val="817A6C"/>
                </a:solidFill>
                <a:latin typeface="Arial" panose="020B0604020202020204" pitchFamily="34" charset="0"/>
                <a:cs typeface="Arial" panose="020B0604020202020204" pitchFamily="34" charset="0"/>
              </a:rPr>
              <a:t>Please scan here to register attendance and provide feedback on partnership opportunities:</a:t>
            </a:r>
            <a:endParaRPr lang="ar-AE" sz="2000" b="1" dirty="0">
              <a:solidFill>
                <a:srgbClr val="817A6C"/>
              </a:solidFill>
              <a:latin typeface="Arial" panose="020B0604020202020204" pitchFamily="34" charset="0"/>
              <a:cs typeface="Arial" panose="020B0604020202020204" pitchFamily="34" charset="0"/>
            </a:endParaRPr>
          </a:p>
        </p:txBody>
      </p:sp>
      <p:sp>
        <p:nvSpPr>
          <p:cNvPr id="6" name="Rectangle: Rounded Corners 5">
            <a:extLst>
              <a:ext uri="{FF2B5EF4-FFF2-40B4-BE49-F238E27FC236}">
                <a16:creationId xmlns:a16="http://schemas.microsoft.com/office/drawing/2014/main" id="{6A531531-528A-164B-E512-7E0512126E08}"/>
              </a:ext>
            </a:extLst>
          </p:cNvPr>
          <p:cNvSpPr/>
          <p:nvPr/>
        </p:nvSpPr>
        <p:spPr>
          <a:xfrm>
            <a:off x="1127715" y="3664259"/>
            <a:ext cx="9972676" cy="2434856"/>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FAEBEF37-13EB-FEE4-CFF8-911811504686}"/>
              </a:ext>
            </a:extLst>
          </p:cNvPr>
          <p:cNvPicPr>
            <a:picLocks noChangeAspect="1"/>
          </p:cNvPicPr>
          <p:nvPr/>
        </p:nvPicPr>
        <p:blipFill>
          <a:blip r:embed="rId8"/>
          <a:stretch>
            <a:fillRect/>
          </a:stretch>
        </p:blipFill>
        <p:spPr>
          <a:xfrm>
            <a:off x="8785434" y="4347801"/>
            <a:ext cx="1238423" cy="1257475"/>
          </a:xfrm>
          <a:prstGeom prst="rect">
            <a:avLst/>
          </a:prstGeom>
        </p:spPr>
      </p:pic>
    </p:spTree>
    <p:custDataLst>
      <p:custData r:id="rId1"/>
    </p:custDataLst>
    <p:extLst>
      <p:ext uri="{BB962C8B-B14F-4D97-AF65-F5344CB8AC3E}">
        <p14:creationId xmlns:p14="http://schemas.microsoft.com/office/powerpoint/2010/main" val="2154136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BF73A4-1ACC-01F1-AC98-4A35EE9E71E3}"/>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id="{37B398C1-C3E8-3309-20F1-AF9D4A8226B2}"/>
              </a:ext>
            </a:extLst>
          </p:cNvPr>
          <p:cNvGraphicFramePr>
            <a:graphicFrameLocks noChangeAspect="1"/>
          </p:cNvGraphicFramePr>
          <p:nvPr>
            <p:custDataLst>
              <p:tags r:id="rId2"/>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name="think-cell Slide" r:id="rId6" imgW="606" imgH="608" progId="TCLayout.ActiveDocument.1">
                  <p:embed/>
                </p:oleObj>
              </mc:Choice>
              <mc:Fallback>
                <p:oleObj name="think-cell Slide" r:id="rId6" imgW="606" imgH="608" progId="TCLayout.ActiveDocument.1">
                  <p:embed/>
                  <p:pic>
                    <p:nvPicPr>
                      <p:cNvPr id="4" name="Object 3" hidden="1">
                        <a:extLst>
                          <a:ext uri="{FF2B5EF4-FFF2-40B4-BE49-F238E27FC236}">
                            <a16:creationId xmlns:a16="http://schemas.microsoft.com/office/drawing/2014/main" id="{37B398C1-C3E8-3309-20F1-AF9D4A8226B2}"/>
                          </a:ext>
                        </a:extLst>
                      </p:cNvPr>
                      <p:cNvPicPr/>
                      <p:nvPr/>
                    </p:nvPicPr>
                    <p:blipFill>
                      <a:blip r:embed="rId7"/>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B269F85-AC57-D588-E5B5-9ECBE1979F2E}"/>
              </a:ext>
            </a:extLst>
          </p:cNvPr>
          <p:cNvSpPr/>
          <p:nvPr>
            <p:custDataLst>
              <p:tags r:id="rId3"/>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id="{6A36AED6-FB82-8ECD-57D4-1FD391B96808}"/>
              </a:ext>
            </a:extLst>
          </p:cNvPr>
          <p:cNvSpPr txBox="1">
            <a:spLocks/>
          </p:cNvSpPr>
          <p:nvPr/>
        </p:nvSpPr>
        <p:spPr>
          <a:xfrm flipH="1">
            <a:off x="287403" y="504054"/>
            <a:ext cx="11617194" cy="449577"/>
          </a:xfrm>
          <a:prstGeom prst="rect">
            <a:avLst/>
          </a:prstGeom>
        </p:spPr>
        <p:txBody>
          <a:bodyPr vert="horz" wrap="square" lIns="0" tIns="0" rIns="0" bIns="0" rtlCol="0" anchor="t">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1" eaLnBrk="1" fontAlgn="auto" latinLnBrk="0" hangingPunct="1">
              <a:lnSpc>
                <a:spcPct val="90000"/>
              </a:lnSpc>
              <a:spcBef>
                <a:spcPct val="0"/>
              </a:spcBef>
              <a:spcAft>
                <a:spcPts val="0"/>
              </a:spcAft>
              <a:buClrTx/>
              <a:buSzTx/>
              <a:buFontTx/>
              <a:buNone/>
              <a:tabLst/>
              <a:defRPr/>
            </a:pPr>
            <a:r>
              <a:rPr lang="en-US" dirty="0">
                <a:solidFill>
                  <a:schemeClr val="accent4">
                    <a:lumMod val="50000"/>
                  </a:schemeClr>
                </a:solidFill>
                <a:latin typeface="Arial" panose="020B0604020202020204" pitchFamily="34" charset="0"/>
                <a:ea typeface="+mj-ea"/>
                <a:cs typeface="+mn-cs"/>
                <a:sym typeface="Sakkal Majalla" panose="02000000000000000000" pitchFamily="2" charset="-78"/>
              </a:rPr>
              <a:t>Agenda</a:t>
            </a:r>
          </a:p>
        </p:txBody>
      </p:sp>
      <p:cxnSp>
        <p:nvCxnSpPr>
          <p:cNvPr id="2" name="Straight Connector 1">
            <a:extLst>
              <a:ext uri="{FF2B5EF4-FFF2-40B4-BE49-F238E27FC236}">
                <a16:creationId xmlns:a16="http://schemas.microsoft.com/office/drawing/2014/main" id="{8A0405A8-2A5D-1555-140D-1C351F2C06F7}"/>
              </a:ext>
            </a:extLst>
          </p:cNvPr>
          <p:cNvCxnSpPr>
            <a:cxnSpLocks/>
          </p:cNvCxnSpPr>
          <p:nvPr/>
        </p:nvCxnSpPr>
        <p:spPr>
          <a:xfrm>
            <a:off x="301558" y="1084462"/>
            <a:ext cx="6031105"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A white wavy paper on a white background&#10;&#10;Description automatically generated">
            <a:extLst>
              <a:ext uri="{FF2B5EF4-FFF2-40B4-BE49-F238E27FC236}">
                <a16:creationId xmlns:a16="http://schemas.microsoft.com/office/drawing/2014/main" id="{DB5B1B5F-3441-FACC-E7CF-8E201F33C384}"/>
              </a:ext>
            </a:extLst>
          </p:cNvPr>
          <p:cNvPicPr>
            <a:picLocks noChangeAspect="1"/>
          </p:cNvPicPr>
          <p:nvPr/>
        </p:nvPicPr>
        <p:blipFill rotWithShape="1">
          <a:blip r:embed="rId8" cstate="email">
            <a:alphaModFix amt="37000"/>
            <a:extLst>
              <a:ext uri="{28A0092B-C50C-407E-A947-70E740481C1C}">
                <a14:useLocalDpi xmlns:a14="http://schemas.microsoft.com/office/drawing/2010/main"/>
              </a:ext>
            </a:extLst>
          </a:blip>
          <a:srcRect/>
          <a:stretch/>
        </p:blipFill>
        <p:spPr>
          <a:xfrm>
            <a:off x="486661" y="2277868"/>
            <a:ext cx="11129846" cy="397713"/>
          </a:xfrm>
          <a:prstGeom prst="rect">
            <a:avLst/>
          </a:prstGeom>
          <a:ln>
            <a:solidFill>
              <a:srgbClr val="7F6000"/>
            </a:solidFill>
          </a:ln>
        </p:spPr>
      </p:pic>
      <p:sp>
        <p:nvSpPr>
          <p:cNvPr id="8" name="Rectangle 7">
            <a:extLst>
              <a:ext uri="{FF2B5EF4-FFF2-40B4-BE49-F238E27FC236}">
                <a16:creationId xmlns:a16="http://schemas.microsoft.com/office/drawing/2014/main" id="{ADC4B5BD-A24D-0EEC-BEA7-F4BE6683A7DE}"/>
              </a:ext>
            </a:extLst>
          </p:cNvPr>
          <p:cNvSpPr/>
          <p:nvPr/>
        </p:nvSpPr>
        <p:spPr>
          <a:xfrm>
            <a:off x="502024" y="1186215"/>
            <a:ext cx="7714749"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Item</a:t>
            </a:r>
            <a:endParaRPr lang="en-US" sz="2400" dirty="0">
              <a:solidFill>
                <a:srgbClr val="866A2C"/>
              </a:solidFill>
              <a:latin typeface="Sakkal Majalla" panose="02000000000000000000" pitchFamily="2" charset="-78"/>
            </a:endParaRPr>
          </a:p>
        </p:txBody>
      </p:sp>
      <p:cxnSp>
        <p:nvCxnSpPr>
          <p:cNvPr id="9" name="Straight Connector 8">
            <a:extLst>
              <a:ext uri="{FF2B5EF4-FFF2-40B4-BE49-F238E27FC236}">
                <a16:creationId xmlns:a16="http://schemas.microsoft.com/office/drawing/2014/main" id="{454A8AD3-AC9A-C2A7-7CC5-C2AE04F7FE97}"/>
              </a:ext>
            </a:extLst>
          </p:cNvPr>
          <p:cNvCxnSpPr>
            <a:cxnSpLocks/>
          </p:cNvCxnSpPr>
          <p:nvPr/>
        </p:nvCxnSpPr>
        <p:spPr>
          <a:xfrm flipH="1">
            <a:off x="575493" y="1755113"/>
            <a:ext cx="1161650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A15BB149-6F27-C045-B622-0CE636C8AB27}"/>
              </a:ext>
            </a:extLst>
          </p:cNvPr>
          <p:cNvSpPr/>
          <p:nvPr/>
        </p:nvSpPr>
        <p:spPr>
          <a:xfrm>
            <a:off x="7342277" y="1186215"/>
            <a:ext cx="1787210"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Time (UAE)</a:t>
            </a:r>
            <a:endParaRPr lang="en-US" sz="2400" dirty="0">
              <a:solidFill>
                <a:srgbClr val="866A2C"/>
              </a:solidFill>
              <a:latin typeface="Sakkal Majalla" panose="02000000000000000000" pitchFamily="2" charset="-78"/>
            </a:endParaRPr>
          </a:p>
        </p:txBody>
      </p:sp>
      <p:sp>
        <p:nvSpPr>
          <p:cNvPr id="12" name="Rectangle 11">
            <a:extLst>
              <a:ext uri="{FF2B5EF4-FFF2-40B4-BE49-F238E27FC236}">
                <a16:creationId xmlns:a16="http://schemas.microsoft.com/office/drawing/2014/main" id="{1F13B6D4-BFD8-8F2E-3E56-65E2FC7D20C4}"/>
              </a:ext>
            </a:extLst>
          </p:cNvPr>
          <p:cNvSpPr/>
          <p:nvPr/>
        </p:nvSpPr>
        <p:spPr>
          <a:xfrm>
            <a:off x="9767138" y="1186215"/>
            <a:ext cx="1787210" cy="600164"/>
          </a:xfrm>
          <a:prstGeom prst="rect">
            <a:avLst/>
          </a:prstGeom>
        </p:spPr>
        <p:txBody>
          <a:bodyPr wrap="square">
            <a:spAutoFit/>
          </a:bodyPr>
          <a:lstStyle/>
          <a:p>
            <a:pPr>
              <a:lnSpc>
                <a:spcPct val="150000"/>
              </a:lnSpc>
            </a:pPr>
            <a:r>
              <a:rPr lang="en-US" sz="2400" b="1" dirty="0">
                <a:solidFill>
                  <a:srgbClr val="866A2C"/>
                </a:solidFill>
                <a:latin typeface="Sakkal Majalla" panose="02000000000000000000" pitchFamily="2" charset="-78"/>
              </a:rPr>
              <a:t>Time (Qatar)</a:t>
            </a:r>
            <a:endParaRPr lang="en-US" sz="2400" dirty="0">
              <a:solidFill>
                <a:srgbClr val="866A2C"/>
              </a:solidFill>
              <a:latin typeface="Sakkal Majalla" panose="02000000000000000000" pitchFamily="2" charset="-78"/>
            </a:endParaRPr>
          </a:p>
        </p:txBody>
      </p:sp>
      <p:sp>
        <p:nvSpPr>
          <p:cNvPr id="14" name="Rectangle 13">
            <a:extLst>
              <a:ext uri="{FF2B5EF4-FFF2-40B4-BE49-F238E27FC236}">
                <a16:creationId xmlns:a16="http://schemas.microsoft.com/office/drawing/2014/main" id="{46319452-0921-73B4-3C9A-4BBB5209B56D}"/>
              </a:ext>
            </a:extLst>
          </p:cNvPr>
          <p:cNvSpPr/>
          <p:nvPr/>
        </p:nvSpPr>
        <p:spPr>
          <a:xfrm>
            <a:off x="9376660" y="5880258"/>
            <a:ext cx="1407669" cy="600740"/>
          </a:xfrm>
          <a:prstGeom prst="rect">
            <a:avLst/>
          </a:prstGeom>
        </p:spPr>
        <p:txBody>
          <a:bodyPr vert="horz" wrap="square" lIns="0" tIns="0" rIns="0" bIns="0" rtlCol="0" anchor="t">
            <a:noAutofit/>
          </a:bodyPr>
          <a:lstStyle/>
          <a:p>
            <a:pPr algn="ctr" rtl="1">
              <a:lnSpc>
                <a:spcPct val="90000"/>
              </a:lnSpc>
              <a:spcBef>
                <a:spcPct val="0"/>
              </a:spcBef>
            </a:pPr>
            <a:r>
              <a:rPr lang="en-US" sz="1600" b="1" dirty="0">
                <a:solidFill>
                  <a:srgbClr val="866A2C"/>
                </a:solidFill>
                <a:latin typeface="Arial" panose="020B0604020202020204" pitchFamily="34" charset="0"/>
                <a:ea typeface="+mj-ea"/>
                <a:cs typeface="Arial" panose="020B0604020202020204" pitchFamily="34" charset="0"/>
              </a:rPr>
              <a:t>Attendance Registration and Feedback</a:t>
            </a:r>
            <a:endParaRPr lang="ar-AE" sz="1600" b="1" dirty="0">
              <a:solidFill>
                <a:srgbClr val="866A2C"/>
              </a:solidFill>
              <a:latin typeface="Arial" panose="020B0604020202020204" pitchFamily="34" charset="0"/>
              <a:ea typeface="+mj-ea"/>
              <a:cs typeface="Arial" panose="020B0604020202020204" pitchFamily="34" charset="0"/>
            </a:endParaRPr>
          </a:p>
        </p:txBody>
      </p:sp>
      <p:pic>
        <p:nvPicPr>
          <p:cNvPr id="6" name="Picture 5">
            <a:extLst>
              <a:ext uri="{FF2B5EF4-FFF2-40B4-BE49-F238E27FC236}">
                <a16:creationId xmlns:a16="http://schemas.microsoft.com/office/drawing/2014/main" id="{0399918B-AE39-043A-59D8-05539C6F1298}"/>
              </a:ext>
            </a:extLst>
          </p:cNvPr>
          <p:cNvPicPr>
            <a:picLocks noChangeAspect="1"/>
          </p:cNvPicPr>
          <p:nvPr/>
        </p:nvPicPr>
        <p:blipFill>
          <a:blip r:embed="rId9"/>
          <a:stretch>
            <a:fillRect/>
          </a:stretch>
        </p:blipFill>
        <p:spPr>
          <a:xfrm>
            <a:off x="9461282" y="4487711"/>
            <a:ext cx="1238423" cy="1257475"/>
          </a:xfrm>
          <a:prstGeom prst="rect">
            <a:avLst/>
          </a:prstGeom>
        </p:spPr>
      </p:pic>
      <p:sp>
        <p:nvSpPr>
          <p:cNvPr id="10" name="Rectangle 9">
            <a:extLst>
              <a:ext uri="{FF2B5EF4-FFF2-40B4-BE49-F238E27FC236}">
                <a16:creationId xmlns:a16="http://schemas.microsoft.com/office/drawing/2014/main" id="{6AA23883-C36F-60BA-8129-E71949567828}"/>
              </a:ext>
            </a:extLst>
          </p:cNvPr>
          <p:cNvSpPr/>
          <p:nvPr/>
        </p:nvSpPr>
        <p:spPr>
          <a:xfrm>
            <a:off x="575493" y="1791937"/>
            <a:ext cx="6766783" cy="4611519"/>
          </a:xfrm>
          <a:prstGeom prst="rect">
            <a:avLst/>
          </a:prstGeom>
        </p:spPr>
        <p:txBody>
          <a:bodyPr wrap="square">
            <a:spAutoFit/>
          </a:bodyPr>
          <a:lstStyle/>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Welcome, Objectives and Agenda</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the industrial partnership</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Qatar Industrial Landscape</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Overview of Türkiye Industrial Landscape</a:t>
            </a:r>
          </a:p>
          <a:p>
            <a:pPr marL="457200" indent="-457200" algn="l">
              <a:lnSpc>
                <a:spcPct val="150000"/>
              </a:lnSpc>
              <a:buFont typeface="+mj-lt"/>
              <a:buAutoNum type="arabicPeriod"/>
            </a:pPr>
            <a:r>
              <a:rPr lang="en-US" b="1" dirty="0">
                <a:solidFill>
                  <a:srgbClr val="817A6C"/>
                </a:solidFill>
                <a:latin typeface="Arial" panose="020B0604020202020204" pitchFamily="34" charset="0"/>
                <a:cs typeface="Arial" panose="020B0604020202020204" pitchFamily="34" charset="0"/>
              </a:rPr>
              <a:t>Companies Introduction and preliminary discussion</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Pharmaceuticals </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Agriculture, Food and Fertilizers </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Chemicals, Plastics And Downstream Products</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Metals, Minerals And Downstream Products</a:t>
            </a:r>
          </a:p>
          <a:p>
            <a:pPr marL="914400" lvl="1" indent="-457200">
              <a:lnSpc>
                <a:spcPct val="150000"/>
              </a:lnSpc>
              <a:buFont typeface="Arial" panose="020B0604020202020204" pitchFamily="34" charset="0"/>
              <a:buChar char="•"/>
            </a:pPr>
            <a:r>
              <a:rPr lang="en-US" b="1" dirty="0">
                <a:solidFill>
                  <a:srgbClr val="817A6C"/>
                </a:solidFill>
                <a:latin typeface="Arial" panose="020B0604020202020204" pitchFamily="34" charset="0"/>
                <a:cs typeface="Arial" panose="020B0604020202020204" pitchFamily="34" charset="0"/>
              </a:rPr>
              <a:t>Textiles</a:t>
            </a:r>
          </a:p>
          <a:p>
            <a:pPr marL="457200" indent="-457200" algn="l">
              <a:lnSpc>
                <a:spcPct val="150000"/>
              </a:lnSpc>
              <a:buFont typeface="+mj-lt"/>
              <a:buAutoNum type="arabicPeriod"/>
            </a:pPr>
            <a:endParaRPr lang="en-US" b="1" dirty="0">
              <a:solidFill>
                <a:srgbClr val="817A6C"/>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D1C0A5C7-01B9-9102-A672-202C1A33B8BE}"/>
              </a:ext>
            </a:extLst>
          </p:cNvPr>
          <p:cNvSpPr/>
          <p:nvPr/>
        </p:nvSpPr>
        <p:spPr>
          <a:xfrm>
            <a:off x="9811974" y="1755113"/>
            <a:ext cx="2034385" cy="2534027"/>
          </a:xfrm>
          <a:prstGeom prst="rect">
            <a:avLst/>
          </a:prstGeom>
        </p:spPr>
        <p:txBody>
          <a:bodyPr wrap="square">
            <a:spAutoFit/>
          </a:bodyPr>
          <a:lstStyle/>
          <a:p>
            <a:pPr>
              <a:lnSpc>
                <a:spcPct val="150000"/>
              </a:lnSpc>
            </a:pPr>
            <a:r>
              <a:rPr lang="en-US" b="1" dirty="0">
                <a:solidFill>
                  <a:srgbClr val="817A6C"/>
                </a:solidFill>
                <a:latin typeface="Arial" panose="020B0604020202020204" pitchFamily="34" charset="0"/>
                <a:cs typeface="Arial" panose="020B0604020202020204" pitchFamily="34" charset="0"/>
              </a:rPr>
              <a:t>12:00 – 12:05</a:t>
            </a:r>
          </a:p>
          <a:p>
            <a:pPr>
              <a:lnSpc>
                <a:spcPct val="150000"/>
              </a:lnSpc>
            </a:pPr>
            <a:r>
              <a:rPr lang="en-US" b="1" dirty="0">
                <a:solidFill>
                  <a:srgbClr val="817A6C"/>
                </a:solidFill>
                <a:latin typeface="Arial" panose="020B0604020202020204" pitchFamily="34" charset="0"/>
                <a:cs typeface="Arial" panose="020B0604020202020204" pitchFamily="34" charset="0"/>
              </a:rPr>
              <a:t>12:05 – 12:15</a:t>
            </a:r>
          </a:p>
          <a:p>
            <a:pPr>
              <a:lnSpc>
                <a:spcPct val="150000"/>
              </a:lnSpc>
            </a:pPr>
            <a:r>
              <a:rPr lang="en-US" b="1" dirty="0">
                <a:solidFill>
                  <a:srgbClr val="817A6C"/>
                </a:solidFill>
                <a:latin typeface="Arial" panose="020B0604020202020204" pitchFamily="34" charset="0"/>
                <a:cs typeface="Arial" panose="020B0604020202020204" pitchFamily="34" charset="0"/>
              </a:rPr>
              <a:t>12:15 – 12:25</a:t>
            </a:r>
          </a:p>
          <a:p>
            <a:pPr>
              <a:lnSpc>
                <a:spcPct val="150000"/>
              </a:lnSpc>
            </a:pPr>
            <a:r>
              <a:rPr lang="en-US" b="1" dirty="0">
                <a:solidFill>
                  <a:srgbClr val="817A6C"/>
                </a:solidFill>
                <a:latin typeface="Arial" panose="020B0604020202020204" pitchFamily="34" charset="0"/>
                <a:cs typeface="Arial" panose="020B0604020202020204" pitchFamily="34" charset="0"/>
              </a:rPr>
              <a:t>12:25 – 12:35</a:t>
            </a:r>
          </a:p>
          <a:p>
            <a:pPr>
              <a:lnSpc>
                <a:spcPct val="150000"/>
              </a:lnSpc>
            </a:pPr>
            <a:r>
              <a:rPr lang="en-US" b="1" dirty="0">
                <a:solidFill>
                  <a:srgbClr val="817A6C"/>
                </a:solidFill>
                <a:latin typeface="Arial" panose="020B0604020202020204" pitchFamily="34" charset="0"/>
                <a:cs typeface="Arial" panose="020B0604020202020204" pitchFamily="34" charset="0"/>
              </a:rPr>
              <a:t>12:35 – 14:00</a:t>
            </a:r>
          </a:p>
          <a:p>
            <a:pPr>
              <a:lnSpc>
                <a:spcPct val="150000"/>
              </a:lnSpc>
            </a:pPr>
            <a:endParaRPr lang="ar-AE" b="1" dirty="0">
              <a:solidFill>
                <a:srgbClr val="817A6C"/>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9063F8B8-B773-560D-738F-F7A2B9708EC8}"/>
              </a:ext>
            </a:extLst>
          </p:cNvPr>
          <p:cNvSpPr/>
          <p:nvPr/>
        </p:nvSpPr>
        <p:spPr>
          <a:xfrm>
            <a:off x="7273049" y="1755113"/>
            <a:ext cx="2034385" cy="2534027"/>
          </a:xfrm>
          <a:prstGeom prst="rect">
            <a:avLst/>
          </a:prstGeom>
        </p:spPr>
        <p:txBody>
          <a:bodyPr wrap="square">
            <a:spAutoFit/>
          </a:bodyPr>
          <a:lstStyle/>
          <a:p>
            <a:pPr>
              <a:lnSpc>
                <a:spcPct val="150000"/>
              </a:lnSpc>
            </a:pPr>
            <a:r>
              <a:rPr lang="en-US" b="1" dirty="0">
                <a:solidFill>
                  <a:srgbClr val="817A6C"/>
                </a:solidFill>
                <a:latin typeface="Arial" panose="020B0604020202020204" pitchFamily="34" charset="0"/>
                <a:cs typeface="Arial" panose="020B0604020202020204" pitchFamily="34" charset="0"/>
              </a:rPr>
              <a:t>13:00 – 13:05</a:t>
            </a:r>
          </a:p>
          <a:p>
            <a:pPr>
              <a:lnSpc>
                <a:spcPct val="150000"/>
              </a:lnSpc>
            </a:pPr>
            <a:r>
              <a:rPr lang="en-US" b="1" dirty="0">
                <a:solidFill>
                  <a:srgbClr val="817A6C"/>
                </a:solidFill>
                <a:latin typeface="Arial" panose="020B0604020202020204" pitchFamily="34" charset="0"/>
                <a:cs typeface="Arial" panose="020B0604020202020204" pitchFamily="34" charset="0"/>
              </a:rPr>
              <a:t>13:05 – 13:15</a:t>
            </a:r>
          </a:p>
          <a:p>
            <a:pPr>
              <a:lnSpc>
                <a:spcPct val="150000"/>
              </a:lnSpc>
            </a:pPr>
            <a:r>
              <a:rPr lang="en-US" b="1" dirty="0">
                <a:solidFill>
                  <a:srgbClr val="817A6C"/>
                </a:solidFill>
                <a:latin typeface="Arial" panose="020B0604020202020204" pitchFamily="34" charset="0"/>
                <a:cs typeface="Arial" panose="020B0604020202020204" pitchFamily="34" charset="0"/>
              </a:rPr>
              <a:t>13:15 – 13:25</a:t>
            </a:r>
          </a:p>
          <a:p>
            <a:pPr>
              <a:lnSpc>
                <a:spcPct val="150000"/>
              </a:lnSpc>
            </a:pPr>
            <a:r>
              <a:rPr lang="en-US" b="1" dirty="0">
                <a:solidFill>
                  <a:srgbClr val="817A6C"/>
                </a:solidFill>
                <a:latin typeface="Arial" panose="020B0604020202020204" pitchFamily="34" charset="0"/>
                <a:cs typeface="Arial" panose="020B0604020202020204" pitchFamily="34" charset="0"/>
              </a:rPr>
              <a:t>14:25 – 14:35</a:t>
            </a:r>
          </a:p>
          <a:p>
            <a:pPr>
              <a:lnSpc>
                <a:spcPct val="150000"/>
              </a:lnSpc>
            </a:pPr>
            <a:r>
              <a:rPr lang="en-US" b="1" dirty="0">
                <a:solidFill>
                  <a:srgbClr val="817A6C"/>
                </a:solidFill>
                <a:latin typeface="Arial" panose="020B0604020202020204" pitchFamily="34" charset="0"/>
                <a:cs typeface="Arial" panose="020B0604020202020204" pitchFamily="34" charset="0"/>
              </a:rPr>
              <a:t>14:35 – 15:00</a:t>
            </a:r>
          </a:p>
          <a:p>
            <a:pPr>
              <a:lnSpc>
                <a:spcPct val="150000"/>
              </a:lnSpc>
            </a:pPr>
            <a:endParaRPr lang="ar-AE" b="1" dirty="0">
              <a:solidFill>
                <a:srgbClr val="817A6C"/>
              </a:solidFill>
              <a:latin typeface="Arial" panose="020B0604020202020204" pitchFamily="34" charset="0"/>
              <a:cs typeface="Arial" panose="020B0604020202020204" pitchFamily="34" charset="0"/>
            </a:endParaRPr>
          </a:p>
        </p:txBody>
      </p:sp>
    </p:spTree>
    <p:custDataLst>
      <p:custData r:id="rId1"/>
    </p:custDataLst>
    <p:extLst>
      <p:ext uri="{BB962C8B-B14F-4D97-AF65-F5344CB8AC3E}">
        <p14:creationId xmlns:p14="http://schemas.microsoft.com/office/powerpoint/2010/main" val="1948385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617BF5-F21A-F789-98A2-FF436B09D478}"/>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id="{0666E5D4-D4DF-51AB-DC89-08569F09C343}"/>
              </a:ext>
            </a:extLst>
          </p:cNvPr>
          <p:cNvGraphicFramePr>
            <a:graphicFrameLocks noChangeAspect="1"/>
          </p:cNvGraphicFramePr>
          <p:nvPr>
            <p:custDataLst>
              <p:tags r:id="rId2"/>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name="think-cell Slide" r:id="rId6" imgW="606" imgH="608" progId="TCLayout.ActiveDocument.1">
                  <p:embed/>
                </p:oleObj>
              </mc:Choice>
              <mc:Fallback>
                <p:oleObj name="think-cell Slide" r:id="rId6" imgW="606" imgH="608" progId="TCLayout.ActiveDocument.1">
                  <p:embed/>
                  <p:pic>
                    <p:nvPicPr>
                      <p:cNvPr id="4" name="Object 3" hidden="1">
                        <a:extLst>
                          <a:ext uri="{FF2B5EF4-FFF2-40B4-BE49-F238E27FC236}">
                            <a16:creationId xmlns:a16="http://schemas.microsoft.com/office/drawing/2014/main" id="{0666E5D4-D4DF-51AB-DC89-08569F09C343}"/>
                          </a:ext>
                        </a:extLst>
                      </p:cNvPr>
                      <p:cNvPicPr/>
                      <p:nvPr/>
                    </p:nvPicPr>
                    <p:blipFill>
                      <a:blip r:embed="rId7"/>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0988D7C-9827-B7FF-822B-D6400DA8B4A5}"/>
              </a:ext>
            </a:extLst>
          </p:cNvPr>
          <p:cNvSpPr/>
          <p:nvPr>
            <p:custDataLst>
              <p:tags r:id="rId3"/>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id="{42485E1A-FB4D-C1C4-830E-7C866E5B58AD}"/>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The Industrial Partnership for Sustainable Economic Development</a:t>
            </a:r>
          </a:p>
        </p:txBody>
      </p:sp>
      <p:cxnSp>
        <p:nvCxnSpPr>
          <p:cNvPr id="2" name="Straight Connector 1">
            <a:extLst>
              <a:ext uri="{FF2B5EF4-FFF2-40B4-BE49-F238E27FC236}">
                <a16:creationId xmlns:a16="http://schemas.microsoft.com/office/drawing/2014/main" id="{A0DA7DC0-7DE9-C581-192E-F5B0AFCDF13A}"/>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17">
            <a:extLst>
              <a:ext uri="{FF2B5EF4-FFF2-40B4-BE49-F238E27FC236}">
                <a16:creationId xmlns:a16="http://schemas.microsoft.com/office/drawing/2014/main" id="{281677C7-1E1D-A90C-AEA5-1B6C656AD9D3}"/>
              </a:ext>
            </a:extLst>
          </p:cNvPr>
          <p:cNvSpPr/>
          <p:nvPr/>
        </p:nvSpPr>
        <p:spPr>
          <a:xfrm rot="10800000">
            <a:off x="12056882" y="0"/>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grpSp>
        <p:nvGrpSpPr>
          <p:cNvPr id="100" name="Group 99">
            <a:extLst>
              <a:ext uri="{FF2B5EF4-FFF2-40B4-BE49-F238E27FC236}">
                <a16:creationId xmlns:a16="http://schemas.microsoft.com/office/drawing/2014/main" id="{481040EC-88DC-23BF-C7C7-1B73DB4FDFE5}"/>
              </a:ext>
            </a:extLst>
          </p:cNvPr>
          <p:cNvGrpSpPr/>
          <p:nvPr/>
        </p:nvGrpSpPr>
        <p:grpSpPr>
          <a:xfrm>
            <a:off x="2411641" y="3755905"/>
            <a:ext cx="9492956" cy="2440695"/>
            <a:chOff x="523787" y="2276855"/>
            <a:chExt cx="11546999" cy="2968802"/>
          </a:xfrm>
        </p:grpSpPr>
        <p:sp>
          <p:nvSpPr>
            <p:cNvPr id="5" name="Rectangle 4">
              <a:extLst>
                <a:ext uri="{FF2B5EF4-FFF2-40B4-BE49-F238E27FC236}">
                  <a16:creationId xmlns:a16="http://schemas.microsoft.com/office/drawing/2014/main" id="{65B37FC4-70E7-5A1B-CEBC-A9A51BF9AE5A}"/>
                </a:ext>
              </a:extLst>
            </p:cNvPr>
            <p:cNvSpPr/>
            <p:nvPr/>
          </p:nvSpPr>
          <p:spPr>
            <a:xfrm>
              <a:off x="523787" y="3429000"/>
              <a:ext cx="2201930" cy="1816656"/>
            </a:xfrm>
            <a:prstGeom prst="rect">
              <a:avLst/>
            </a:prstGeom>
            <a:solidFill>
              <a:schemeClr val="bg1">
                <a:alpha val="73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548640" rIns="0" rtlCol="0" anchor="t"/>
            <a:lstStyle/>
            <a:p>
              <a:pPr lvl="0" algn="ctr">
                <a:defRPr/>
              </a:pPr>
              <a:r>
                <a:rPr lang="en-US" sz="1600" b="1" dirty="0">
                  <a:solidFill>
                    <a:srgbClr val="817A6C"/>
                  </a:solidFill>
                  <a:latin typeface="Arial" panose="020B0604020202020204" pitchFamily="34" charset="0"/>
                  <a:cs typeface="Arial" panose="020B0604020202020204" pitchFamily="34" charset="0"/>
                  <a:sym typeface="Trebuchet MS" panose="020B0603020202020204" pitchFamily="34" charset="0"/>
                </a:rPr>
                <a:t>Supply chain security and resilience</a:t>
              </a:r>
            </a:p>
          </p:txBody>
        </p:sp>
        <p:sp>
          <p:nvSpPr>
            <p:cNvPr id="9" name="Oval 8">
              <a:extLst>
                <a:ext uri="{FF2B5EF4-FFF2-40B4-BE49-F238E27FC236}">
                  <a16:creationId xmlns:a16="http://schemas.microsoft.com/office/drawing/2014/main" id="{66F1F935-312E-615A-C623-B2F8FBED9ABA}"/>
                </a:ext>
              </a:extLst>
            </p:cNvPr>
            <p:cNvSpPr/>
            <p:nvPr/>
          </p:nvSpPr>
          <p:spPr>
            <a:xfrm>
              <a:off x="966116" y="2276855"/>
              <a:ext cx="1317272" cy="1317272"/>
            </a:xfrm>
            <a:prstGeom prst="ellipse">
              <a:avLst/>
            </a:prstGeom>
            <a:solidFill>
              <a:srgbClr val="7F6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E1688CE4-158A-01E4-97C9-52DCDB5FDCBD}"/>
                </a:ext>
              </a:extLst>
            </p:cNvPr>
            <p:cNvGrpSpPr>
              <a:grpSpLocks noChangeAspect="1"/>
            </p:cNvGrpSpPr>
            <p:nvPr/>
          </p:nvGrpSpPr>
          <p:grpSpPr>
            <a:xfrm>
              <a:off x="1235183" y="2546298"/>
              <a:ext cx="779137" cy="778385"/>
              <a:chOff x="5273675" y="2606675"/>
              <a:chExt cx="1646238" cy="1644650"/>
            </a:xfrm>
          </p:grpSpPr>
          <p:sp>
            <p:nvSpPr>
              <p:cNvPr id="15" name="AutoShape 3">
                <a:extLst>
                  <a:ext uri="{FF2B5EF4-FFF2-40B4-BE49-F238E27FC236}">
                    <a16:creationId xmlns:a16="http://schemas.microsoft.com/office/drawing/2014/main" id="{503E614F-C324-7956-CA4F-247B5DDD820B}"/>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6">
                <a:extLst>
                  <a:ext uri="{FF2B5EF4-FFF2-40B4-BE49-F238E27FC236}">
                    <a16:creationId xmlns:a16="http://schemas.microsoft.com/office/drawing/2014/main" id="{A6F381A7-735D-703B-9741-674061E3CBA3}"/>
                  </a:ext>
                </a:extLst>
              </p:cNvPr>
              <p:cNvSpPr>
                <a:spLocks/>
              </p:cNvSpPr>
              <p:nvPr/>
            </p:nvSpPr>
            <p:spPr bwMode="auto">
              <a:xfrm>
                <a:off x="5547441" y="2792413"/>
                <a:ext cx="1098707" cy="1276350"/>
              </a:xfrm>
              <a:custGeom>
                <a:avLst/>
                <a:gdLst>
                  <a:gd name="connsiteX0" fmla="*/ 550872 w 1098707"/>
                  <a:gd name="connsiteY0" fmla="*/ 369907 h 1276350"/>
                  <a:gd name="connsiteX1" fmla="*/ 543639 w 1098707"/>
                  <a:gd name="connsiteY1" fmla="*/ 374727 h 1276350"/>
                  <a:gd name="connsiteX2" fmla="*/ 490061 w 1098707"/>
                  <a:gd name="connsiteY2" fmla="*/ 480409 h 1276350"/>
                  <a:gd name="connsiteX3" fmla="*/ 483631 w 1098707"/>
                  <a:gd name="connsiteY3" fmla="*/ 485408 h 1276350"/>
                  <a:gd name="connsiteX4" fmla="*/ 366474 w 1098707"/>
                  <a:gd name="connsiteY4" fmla="*/ 501117 h 1276350"/>
                  <a:gd name="connsiteX5" fmla="*/ 361473 w 1098707"/>
                  <a:gd name="connsiteY5" fmla="*/ 515398 h 1276350"/>
                  <a:gd name="connsiteX6" fmla="*/ 445055 w 1098707"/>
                  <a:gd name="connsiteY6" fmla="*/ 599659 h 1276350"/>
                  <a:gd name="connsiteX7" fmla="*/ 447912 w 1098707"/>
                  <a:gd name="connsiteY7" fmla="*/ 606799 h 1276350"/>
                  <a:gd name="connsiteX8" fmla="*/ 426481 w 1098707"/>
                  <a:gd name="connsiteY8" fmla="*/ 723907 h 1276350"/>
                  <a:gd name="connsiteX9" fmla="*/ 438625 w 1098707"/>
                  <a:gd name="connsiteY9" fmla="*/ 732476 h 1276350"/>
                  <a:gd name="connsiteX10" fmla="*/ 544353 w 1098707"/>
                  <a:gd name="connsiteY10" fmla="*/ 678206 h 1276350"/>
                  <a:gd name="connsiteX11" fmla="*/ 552211 w 1098707"/>
                  <a:gd name="connsiteY11" fmla="*/ 678920 h 1276350"/>
                  <a:gd name="connsiteX12" fmla="*/ 655796 w 1098707"/>
                  <a:gd name="connsiteY12" fmla="*/ 734618 h 1276350"/>
                  <a:gd name="connsiteX13" fmla="*/ 668655 w 1098707"/>
                  <a:gd name="connsiteY13" fmla="*/ 726763 h 1276350"/>
                  <a:gd name="connsiteX14" fmla="*/ 649366 w 1098707"/>
                  <a:gd name="connsiteY14" fmla="*/ 608942 h 1276350"/>
                  <a:gd name="connsiteX15" fmla="*/ 651509 w 1098707"/>
                  <a:gd name="connsiteY15" fmla="*/ 601801 h 1276350"/>
                  <a:gd name="connsiteX16" fmla="*/ 737235 w 1098707"/>
                  <a:gd name="connsiteY16" fmla="*/ 518969 h 1276350"/>
                  <a:gd name="connsiteX17" fmla="*/ 732948 w 1098707"/>
                  <a:gd name="connsiteY17" fmla="*/ 504687 h 1276350"/>
                  <a:gd name="connsiteX18" fmla="*/ 615791 w 1098707"/>
                  <a:gd name="connsiteY18" fmla="*/ 486836 h 1276350"/>
                  <a:gd name="connsiteX19" fmla="*/ 610076 w 1098707"/>
                  <a:gd name="connsiteY19" fmla="*/ 481837 h 1276350"/>
                  <a:gd name="connsiteX20" fmla="*/ 558641 w 1098707"/>
                  <a:gd name="connsiteY20" fmla="*/ 374727 h 1276350"/>
                  <a:gd name="connsiteX21" fmla="*/ 550872 w 1098707"/>
                  <a:gd name="connsiteY21" fmla="*/ 369907 h 1276350"/>
                  <a:gd name="connsiteX22" fmla="*/ 549790 w 1098707"/>
                  <a:gd name="connsiteY22" fmla="*/ 61912 h 1276350"/>
                  <a:gd name="connsiteX23" fmla="*/ 858627 w 1098707"/>
                  <a:gd name="connsiteY23" fmla="*/ 94742 h 1276350"/>
                  <a:gd name="connsiteX24" fmla="*/ 863631 w 1098707"/>
                  <a:gd name="connsiteY24" fmla="*/ 99737 h 1276350"/>
                  <a:gd name="connsiteX25" fmla="*/ 889368 w 1098707"/>
                  <a:gd name="connsiteY25" fmla="*/ 160400 h 1276350"/>
                  <a:gd name="connsiteX26" fmla="*/ 1030203 w 1098707"/>
                  <a:gd name="connsiteY26" fmla="*/ 257461 h 1276350"/>
                  <a:gd name="connsiteX27" fmla="*/ 1035922 w 1098707"/>
                  <a:gd name="connsiteY27" fmla="*/ 265312 h 1276350"/>
                  <a:gd name="connsiteX28" fmla="*/ 973726 w 1098707"/>
                  <a:gd name="connsiteY28" fmla="*/ 642136 h 1276350"/>
                  <a:gd name="connsiteX29" fmla="*/ 822167 w 1098707"/>
                  <a:gd name="connsiteY29" fmla="*/ 975426 h 1276350"/>
                  <a:gd name="connsiteX30" fmla="*/ 552649 w 1098707"/>
                  <a:gd name="connsiteY30" fmla="*/ 1207374 h 1276350"/>
                  <a:gd name="connsiteX31" fmla="*/ 546930 w 1098707"/>
                  <a:gd name="connsiteY31" fmla="*/ 1207374 h 1276350"/>
                  <a:gd name="connsiteX32" fmla="*/ 277413 w 1098707"/>
                  <a:gd name="connsiteY32" fmla="*/ 975426 h 1276350"/>
                  <a:gd name="connsiteX33" fmla="*/ 125854 w 1098707"/>
                  <a:gd name="connsiteY33" fmla="*/ 642136 h 1276350"/>
                  <a:gd name="connsiteX34" fmla="*/ 64372 w 1098707"/>
                  <a:gd name="connsiteY34" fmla="*/ 265312 h 1276350"/>
                  <a:gd name="connsiteX35" fmla="*/ 70091 w 1098707"/>
                  <a:gd name="connsiteY35" fmla="*/ 257461 h 1276350"/>
                  <a:gd name="connsiteX36" fmla="*/ 210212 w 1098707"/>
                  <a:gd name="connsiteY36" fmla="*/ 160400 h 1276350"/>
                  <a:gd name="connsiteX37" fmla="*/ 235948 w 1098707"/>
                  <a:gd name="connsiteY37" fmla="*/ 99737 h 1276350"/>
                  <a:gd name="connsiteX38" fmla="*/ 240953 w 1098707"/>
                  <a:gd name="connsiteY38" fmla="*/ 94742 h 1276350"/>
                  <a:gd name="connsiteX39" fmla="*/ 549790 w 1098707"/>
                  <a:gd name="connsiteY39" fmla="*/ 61912 h 1276350"/>
                  <a:gd name="connsiteX40" fmla="*/ 549354 w 1098707"/>
                  <a:gd name="connsiteY40" fmla="*/ 30162 h 1276350"/>
                  <a:gd name="connsiteX41" fmla="*/ 209869 w 1098707"/>
                  <a:gd name="connsiteY41" fmla="*/ 70162 h 1276350"/>
                  <a:gd name="connsiteX42" fmla="*/ 184140 w 1098707"/>
                  <a:gd name="connsiteY42" fmla="*/ 143733 h 1276350"/>
                  <a:gd name="connsiteX43" fmla="*/ 32622 w 1098707"/>
                  <a:gd name="connsiteY43" fmla="*/ 230875 h 1276350"/>
                  <a:gd name="connsiteX44" fmla="*/ 95516 w 1098707"/>
                  <a:gd name="connsiteY44" fmla="*/ 649444 h 1276350"/>
                  <a:gd name="connsiteX45" fmla="*/ 549354 w 1098707"/>
                  <a:gd name="connsiteY45" fmla="*/ 1243012 h 1276350"/>
                  <a:gd name="connsiteX46" fmla="*/ 1003191 w 1098707"/>
                  <a:gd name="connsiteY46" fmla="*/ 649444 h 1276350"/>
                  <a:gd name="connsiteX47" fmla="*/ 1066085 w 1098707"/>
                  <a:gd name="connsiteY47" fmla="*/ 230875 h 1276350"/>
                  <a:gd name="connsiteX48" fmla="*/ 914568 w 1098707"/>
                  <a:gd name="connsiteY48" fmla="*/ 143733 h 1276350"/>
                  <a:gd name="connsiteX49" fmla="*/ 888838 w 1098707"/>
                  <a:gd name="connsiteY49" fmla="*/ 70162 h 1276350"/>
                  <a:gd name="connsiteX50" fmla="*/ 549354 w 1098707"/>
                  <a:gd name="connsiteY50" fmla="*/ 30162 h 1276350"/>
                  <a:gd name="connsiteX51" fmla="*/ 549353 w 1098707"/>
                  <a:gd name="connsiteY51" fmla="*/ 0 h 1276350"/>
                  <a:gd name="connsiteX52" fmla="*/ 907721 w 1098707"/>
                  <a:gd name="connsiteY52" fmla="*/ 44258 h 1276350"/>
                  <a:gd name="connsiteX53" fmla="*/ 919166 w 1098707"/>
                  <a:gd name="connsiteY53" fmla="*/ 58535 h 1276350"/>
                  <a:gd name="connsiteX54" fmla="*/ 1082970 w 1098707"/>
                  <a:gd name="connsiteY54" fmla="*/ 201304 h 1276350"/>
                  <a:gd name="connsiteX55" fmla="*/ 1098707 w 1098707"/>
                  <a:gd name="connsiteY55" fmla="*/ 217008 h 1276350"/>
                  <a:gd name="connsiteX56" fmla="*/ 1034330 w 1098707"/>
                  <a:gd name="connsiteY56" fmla="*/ 658163 h 1276350"/>
                  <a:gd name="connsiteX57" fmla="*/ 874101 w 1098707"/>
                  <a:gd name="connsiteY57" fmla="*/ 1010801 h 1276350"/>
                  <a:gd name="connsiteX58" fmla="*/ 555791 w 1098707"/>
                  <a:gd name="connsiteY58" fmla="*/ 1274923 h 1276350"/>
                  <a:gd name="connsiteX59" fmla="*/ 549353 w 1098707"/>
                  <a:gd name="connsiteY59" fmla="*/ 1276350 h 1276350"/>
                  <a:gd name="connsiteX60" fmla="*/ 542915 w 1098707"/>
                  <a:gd name="connsiteY60" fmla="*/ 1274923 h 1276350"/>
                  <a:gd name="connsiteX61" fmla="*/ 225320 w 1098707"/>
                  <a:gd name="connsiteY61" fmla="*/ 1010801 h 1276350"/>
                  <a:gd name="connsiteX62" fmla="*/ 64377 w 1098707"/>
                  <a:gd name="connsiteY62" fmla="*/ 658163 h 1276350"/>
                  <a:gd name="connsiteX63" fmla="*/ 0 w 1098707"/>
                  <a:gd name="connsiteY63" fmla="*/ 217008 h 1276350"/>
                  <a:gd name="connsiteX64" fmla="*/ 15736 w 1098707"/>
                  <a:gd name="connsiteY64" fmla="*/ 201304 h 1276350"/>
                  <a:gd name="connsiteX65" fmla="*/ 156651 w 1098707"/>
                  <a:gd name="connsiteY65" fmla="*/ 129206 h 1276350"/>
                  <a:gd name="connsiteX66" fmla="*/ 179541 w 1098707"/>
                  <a:gd name="connsiteY66" fmla="*/ 58535 h 1276350"/>
                  <a:gd name="connsiteX67" fmla="*/ 190986 w 1098707"/>
                  <a:gd name="connsiteY67" fmla="*/ 44258 h 1276350"/>
                  <a:gd name="connsiteX68" fmla="*/ 549353 w 1098707"/>
                  <a:gd name="connsiteY68" fmla="*/ 0 h 127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098707" h="1276350">
                    <a:moveTo>
                      <a:pt x="550872" y="369907"/>
                    </a:moveTo>
                    <a:cubicBezTo>
                      <a:pt x="547925" y="369907"/>
                      <a:pt x="545068" y="371514"/>
                      <a:pt x="543639" y="374727"/>
                    </a:cubicBezTo>
                    <a:cubicBezTo>
                      <a:pt x="543639" y="374727"/>
                      <a:pt x="543639" y="374727"/>
                      <a:pt x="490061" y="480409"/>
                    </a:cubicBezTo>
                    <a:cubicBezTo>
                      <a:pt x="488632" y="483265"/>
                      <a:pt x="485774" y="485408"/>
                      <a:pt x="483631" y="485408"/>
                    </a:cubicBezTo>
                    <a:cubicBezTo>
                      <a:pt x="483631" y="485408"/>
                      <a:pt x="483631" y="485408"/>
                      <a:pt x="366474" y="501117"/>
                    </a:cubicBezTo>
                    <a:cubicBezTo>
                      <a:pt x="359330" y="501831"/>
                      <a:pt x="356472" y="510400"/>
                      <a:pt x="361473" y="515398"/>
                    </a:cubicBezTo>
                    <a:cubicBezTo>
                      <a:pt x="361473" y="515398"/>
                      <a:pt x="361473" y="515398"/>
                      <a:pt x="445055" y="599659"/>
                    </a:cubicBezTo>
                    <a:cubicBezTo>
                      <a:pt x="447912" y="601087"/>
                      <a:pt x="447912" y="603943"/>
                      <a:pt x="447912" y="606799"/>
                    </a:cubicBezTo>
                    <a:cubicBezTo>
                      <a:pt x="447912" y="606799"/>
                      <a:pt x="447912" y="606799"/>
                      <a:pt x="426481" y="723907"/>
                    </a:cubicBezTo>
                    <a:cubicBezTo>
                      <a:pt x="425052" y="730333"/>
                      <a:pt x="432910" y="736046"/>
                      <a:pt x="438625" y="732476"/>
                    </a:cubicBezTo>
                    <a:cubicBezTo>
                      <a:pt x="438625" y="732476"/>
                      <a:pt x="438625" y="732476"/>
                      <a:pt x="544353" y="678206"/>
                    </a:cubicBezTo>
                    <a:cubicBezTo>
                      <a:pt x="546496" y="677492"/>
                      <a:pt x="549354" y="677492"/>
                      <a:pt x="552211" y="678920"/>
                    </a:cubicBezTo>
                    <a:cubicBezTo>
                      <a:pt x="552211" y="678920"/>
                      <a:pt x="552211" y="678920"/>
                      <a:pt x="655796" y="734618"/>
                    </a:cubicBezTo>
                    <a:cubicBezTo>
                      <a:pt x="662225" y="738188"/>
                      <a:pt x="669369" y="733190"/>
                      <a:pt x="668655" y="726763"/>
                    </a:cubicBezTo>
                    <a:cubicBezTo>
                      <a:pt x="668655" y="726763"/>
                      <a:pt x="668655" y="726763"/>
                      <a:pt x="649366" y="608942"/>
                    </a:cubicBezTo>
                    <a:cubicBezTo>
                      <a:pt x="648652" y="606085"/>
                      <a:pt x="650081" y="603229"/>
                      <a:pt x="651509" y="601801"/>
                    </a:cubicBezTo>
                    <a:cubicBezTo>
                      <a:pt x="651509" y="601801"/>
                      <a:pt x="651509" y="601801"/>
                      <a:pt x="737235" y="518969"/>
                    </a:cubicBezTo>
                    <a:cubicBezTo>
                      <a:pt x="742235" y="514684"/>
                      <a:pt x="739378" y="506116"/>
                      <a:pt x="732948" y="504687"/>
                    </a:cubicBezTo>
                    <a:cubicBezTo>
                      <a:pt x="732948" y="504687"/>
                      <a:pt x="732948" y="504687"/>
                      <a:pt x="615791" y="486836"/>
                    </a:cubicBezTo>
                    <a:cubicBezTo>
                      <a:pt x="612933" y="486122"/>
                      <a:pt x="610790" y="484693"/>
                      <a:pt x="610076" y="481837"/>
                    </a:cubicBezTo>
                    <a:cubicBezTo>
                      <a:pt x="610076" y="481837"/>
                      <a:pt x="610076" y="481837"/>
                      <a:pt x="558641" y="374727"/>
                    </a:cubicBezTo>
                    <a:cubicBezTo>
                      <a:pt x="556855" y="371514"/>
                      <a:pt x="553819" y="369907"/>
                      <a:pt x="550872" y="369907"/>
                    </a:cubicBezTo>
                    <a:close/>
                    <a:moveTo>
                      <a:pt x="549790" y="61912"/>
                    </a:moveTo>
                    <a:cubicBezTo>
                      <a:pt x="551934" y="61912"/>
                      <a:pt x="724226" y="62626"/>
                      <a:pt x="858627" y="94742"/>
                    </a:cubicBezTo>
                    <a:cubicBezTo>
                      <a:pt x="861486" y="95455"/>
                      <a:pt x="863631" y="97596"/>
                      <a:pt x="863631" y="99737"/>
                    </a:cubicBezTo>
                    <a:cubicBezTo>
                      <a:pt x="868635" y="117579"/>
                      <a:pt x="876499" y="138276"/>
                      <a:pt x="889368" y="160400"/>
                    </a:cubicBezTo>
                    <a:cubicBezTo>
                      <a:pt x="911530" y="198226"/>
                      <a:pt x="953709" y="241760"/>
                      <a:pt x="1030203" y="257461"/>
                    </a:cubicBezTo>
                    <a:cubicBezTo>
                      <a:pt x="1033778" y="258175"/>
                      <a:pt x="1035922" y="261743"/>
                      <a:pt x="1035922" y="265312"/>
                    </a:cubicBezTo>
                    <a:cubicBezTo>
                      <a:pt x="1032348" y="337394"/>
                      <a:pt x="1019480" y="484413"/>
                      <a:pt x="973726" y="642136"/>
                    </a:cubicBezTo>
                    <a:cubicBezTo>
                      <a:pt x="936551" y="772027"/>
                      <a:pt x="885793" y="884075"/>
                      <a:pt x="822167" y="975426"/>
                    </a:cubicBezTo>
                    <a:cubicBezTo>
                      <a:pt x="749247" y="1080338"/>
                      <a:pt x="658455" y="1158129"/>
                      <a:pt x="552649" y="1207374"/>
                    </a:cubicBezTo>
                    <a:cubicBezTo>
                      <a:pt x="551220" y="1208087"/>
                      <a:pt x="548360" y="1208087"/>
                      <a:pt x="546930" y="1207374"/>
                    </a:cubicBezTo>
                    <a:cubicBezTo>
                      <a:pt x="441125" y="1158129"/>
                      <a:pt x="350332" y="1080338"/>
                      <a:pt x="277413" y="975426"/>
                    </a:cubicBezTo>
                    <a:cubicBezTo>
                      <a:pt x="213786" y="884075"/>
                      <a:pt x="163029" y="772027"/>
                      <a:pt x="125854" y="642136"/>
                    </a:cubicBezTo>
                    <a:cubicBezTo>
                      <a:pt x="80815" y="484413"/>
                      <a:pt x="67947" y="337394"/>
                      <a:pt x="64372" y="265312"/>
                    </a:cubicBezTo>
                    <a:cubicBezTo>
                      <a:pt x="64372" y="261743"/>
                      <a:pt x="66517" y="258175"/>
                      <a:pt x="70091" y="257461"/>
                    </a:cubicBezTo>
                    <a:cubicBezTo>
                      <a:pt x="145871" y="241760"/>
                      <a:pt x="188050" y="198226"/>
                      <a:pt x="210212" y="160400"/>
                    </a:cubicBezTo>
                    <a:cubicBezTo>
                      <a:pt x="223080" y="138276"/>
                      <a:pt x="230944" y="117579"/>
                      <a:pt x="235948" y="99737"/>
                    </a:cubicBezTo>
                    <a:cubicBezTo>
                      <a:pt x="235948" y="97596"/>
                      <a:pt x="238093" y="95455"/>
                      <a:pt x="240953" y="94742"/>
                    </a:cubicBezTo>
                    <a:cubicBezTo>
                      <a:pt x="375354" y="62626"/>
                      <a:pt x="547645" y="61912"/>
                      <a:pt x="549790" y="61912"/>
                    </a:cubicBezTo>
                    <a:close/>
                    <a:moveTo>
                      <a:pt x="549354" y="30162"/>
                    </a:moveTo>
                    <a:cubicBezTo>
                      <a:pt x="545780" y="30162"/>
                      <a:pt x="350666" y="30876"/>
                      <a:pt x="209869" y="70162"/>
                    </a:cubicBezTo>
                    <a:cubicBezTo>
                      <a:pt x="207725" y="85876"/>
                      <a:pt x="201293" y="114447"/>
                      <a:pt x="184140" y="143733"/>
                    </a:cubicBezTo>
                    <a:cubicBezTo>
                      <a:pt x="161984" y="180876"/>
                      <a:pt x="117672" y="224447"/>
                      <a:pt x="32622" y="230875"/>
                    </a:cubicBezTo>
                    <a:cubicBezTo>
                      <a:pt x="33337" y="282304"/>
                      <a:pt x="41199" y="457302"/>
                      <a:pt x="95516" y="649444"/>
                    </a:cubicBezTo>
                    <a:cubicBezTo>
                      <a:pt x="154122" y="856586"/>
                      <a:pt x="280625" y="1126584"/>
                      <a:pt x="549354" y="1243012"/>
                    </a:cubicBezTo>
                    <a:cubicBezTo>
                      <a:pt x="818797" y="1126584"/>
                      <a:pt x="944585" y="856586"/>
                      <a:pt x="1003191" y="649444"/>
                    </a:cubicBezTo>
                    <a:cubicBezTo>
                      <a:pt x="1057509" y="457302"/>
                      <a:pt x="1065371" y="282304"/>
                      <a:pt x="1066085" y="230875"/>
                    </a:cubicBezTo>
                    <a:cubicBezTo>
                      <a:pt x="981035" y="224447"/>
                      <a:pt x="936724" y="180876"/>
                      <a:pt x="914568" y="143733"/>
                    </a:cubicBezTo>
                    <a:cubicBezTo>
                      <a:pt x="897415" y="114447"/>
                      <a:pt x="890983" y="85876"/>
                      <a:pt x="888838" y="70162"/>
                    </a:cubicBezTo>
                    <a:cubicBezTo>
                      <a:pt x="748042" y="30876"/>
                      <a:pt x="553642" y="30162"/>
                      <a:pt x="549354" y="30162"/>
                    </a:cubicBezTo>
                    <a:close/>
                    <a:moveTo>
                      <a:pt x="549353" y="0"/>
                    </a:moveTo>
                    <a:cubicBezTo>
                      <a:pt x="557937" y="0"/>
                      <a:pt x="761083" y="0"/>
                      <a:pt x="907721" y="44258"/>
                    </a:cubicBezTo>
                    <a:cubicBezTo>
                      <a:pt x="914158" y="46400"/>
                      <a:pt x="919166" y="52111"/>
                      <a:pt x="919166" y="58535"/>
                    </a:cubicBezTo>
                    <a:cubicBezTo>
                      <a:pt x="919166" y="64246"/>
                      <a:pt x="928464" y="198448"/>
                      <a:pt x="1082970" y="201304"/>
                    </a:cubicBezTo>
                    <a:cubicBezTo>
                      <a:pt x="1091554" y="202017"/>
                      <a:pt x="1098707" y="208442"/>
                      <a:pt x="1098707" y="217008"/>
                    </a:cubicBezTo>
                    <a:cubicBezTo>
                      <a:pt x="1098707" y="219150"/>
                      <a:pt x="1099422" y="426164"/>
                      <a:pt x="1034330" y="658163"/>
                    </a:cubicBezTo>
                    <a:cubicBezTo>
                      <a:pt x="994988" y="795220"/>
                      <a:pt x="941340" y="913718"/>
                      <a:pt x="874101" y="1010801"/>
                    </a:cubicBezTo>
                    <a:cubicBezTo>
                      <a:pt x="788980" y="1133582"/>
                      <a:pt x="681685" y="1222098"/>
                      <a:pt x="555791" y="1274923"/>
                    </a:cubicBezTo>
                    <a:cubicBezTo>
                      <a:pt x="553645" y="1275636"/>
                      <a:pt x="551499" y="1276350"/>
                      <a:pt x="549353" y="1276350"/>
                    </a:cubicBezTo>
                    <a:cubicBezTo>
                      <a:pt x="547207" y="1276350"/>
                      <a:pt x="545061" y="1275636"/>
                      <a:pt x="542915" y="1274923"/>
                    </a:cubicBezTo>
                    <a:cubicBezTo>
                      <a:pt x="417022" y="1222098"/>
                      <a:pt x="309726" y="1133582"/>
                      <a:pt x="225320" y="1010801"/>
                    </a:cubicBezTo>
                    <a:cubicBezTo>
                      <a:pt x="157366" y="913718"/>
                      <a:pt x="103719" y="795220"/>
                      <a:pt x="64377" y="658163"/>
                    </a:cubicBezTo>
                    <a:cubicBezTo>
                      <a:pt x="-716" y="426164"/>
                      <a:pt x="0" y="219150"/>
                      <a:pt x="0" y="217008"/>
                    </a:cubicBezTo>
                    <a:cubicBezTo>
                      <a:pt x="0" y="208442"/>
                      <a:pt x="7153" y="202017"/>
                      <a:pt x="15736" y="201304"/>
                    </a:cubicBezTo>
                    <a:cubicBezTo>
                      <a:pt x="80829" y="199876"/>
                      <a:pt x="128754" y="175605"/>
                      <a:pt x="156651" y="129206"/>
                    </a:cubicBezTo>
                    <a:cubicBezTo>
                      <a:pt x="177395" y="93513"/>
                      <a:pt x="179541" y="59249"/>
                      <a:pt x="179541" y="58535"/>
                    </a:cubicBezTo>
                    <a:cubicBezTo>
                      <a:pt x="179541" y="52111"/>
                      <a:pt x="184548" y="46400"/>
                      <a:pt x="190986" y="44258"/>
                    </a:cubicBezTo>
                    <a:cubicBezTo>
                      <a:pt x="337623" y="0"/>
                      <a:pt x="540770" y="0"/>
                      <a:pt x="54935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grpSp>
        <p:sp>
          <p:nvSpPr>
            <p:cNvPr id="18" name="Rectangle 17">
              <a:extLst>
                <a:ext uri="{FF2B5EF4-FFF2-40B4-BE49-F238E27FC236}">
                  <a16:creationId xmlns:a16="http://schemas.microsoft.com/office/drawing/2014/main" id="{9651924C-CB3E-FA96-C086-F69CCAD1F1EB}"/>
                </a:ext>
              </a:extLst>
            </p:cNvPr>
            <p:cNvSpPr/>
            <p:nvPr/>
          </p:nvSpPr>
          <p:spPr>
            <a:xfrm>
              <a:off x="7532639" y="3429001"/>
              <a:ext cx="2201930" cy="1816656"/>
            </a:xfrm>
            <a:prstGeom prst="rect">
              <a:avLst/>
            </a:prstGeom>
            <a:solidFill>
              <a:schemeClr val="bg1">
                <a:alpha val="73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548640" rIns="0" rtlCol="0" anchor="t"/>
            <a:lstStyle/>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0" lang="en-US" sz="1600" b="1" i="0" u="none" strike="noStrike" kern="1200" cap="none" spc="0" normalizeH="0" baseline="0" noProof="0">
                  <a:ln>
                    <a:noFill/>
                  </a:ln>
                  <a:solidFill>
                    <a:srgbClr val="817A6C"/>
                  </a:solidFill>
                  <a:effectLst/>
                  <a:uLnTx/>
                  <a:uFillTx/>
                  <a:latin typeface="Arial" panose="020B0604020202020204" pitchFamily="34" charset="0"/>
                  <a:cs typeface="Arial" panose="020B0604020202020204" pitchFamily="34" charset="0"/>
                  <a:sym typeface="Trebuchet MS" panose="020B0603020202020204" pitchFamily="34" charset="0"/>
                </a:rPr>
                <a:t>Economic growth, diversification</a:t>
              </a:r>
              <a:br>
                <a:rPr kumimoji="0" lang="en-US" sz="1600" b="1" i="0" u="none" strike="noStrike" kern="1200" cap="none" spc="0" normalizeH="0" baseline="0" noProof="0">
                  <a:ln>
                    <a:noFill/>
                  </a:ln>
                  <a:solidFill>
                    <a:srgbClr val="817A6C"/>
                  </a:solidFill>
                  <a:effectLst/>
                  <a:uLnTx/>
                  <a:uFillTx/>
                  <a:latin typeface="Arial" panose="020B0604020202020204" pitchFamily="34" charset="0"/>
                  <a:cs typeface="Arial" panose="020B0604020202020204" pitchFamily="34" charset="0"/>
                  <a:sym typeface="Trebuchet MS" panose="020B0603020202020204" pitchFamily="34" charset="0"/>
                </a:rPr>
              </a:br>
              <a:r>
                <a:rPr kumimoji="0" lang="en-US" sz="1600" b="1" i="0" u="none" strike="noStrike" kern="1200" cap="none" spc="0" normalizeH="0" baseline="0" noProof="0">
                  <a:ln>
                    <a:noFill/>
                  </a:ln>
                  <a:solidFill>
                    <a:srgbClr val="817A6C"/>
                  </a:solidFill>
                  <a:effectLst/>
                  <a:uLnTx/>
                  <a:uFillTx/>
                  <a:latin typeface="Arial" panose="020B0604020202020204" pitchFamily="34" charset="0"/>
                  <a:cs typeface="Arial" panose="020B0604020202020204" pitchFamily="34" charset="0"/>
                  <a:sym typeface="Trebuchet MS" panose="020B0603020202020204" pitchFamily="34" charset="0"/>
                </a:rPr>
                <a:t>&amp; job creation</a:t>
              </a:r>
            </a:p>
          </p:txBody>
        </p:sp>
        <p:sp>
          <p:nvSpPr>
            <p:cNvPr id="20" name="Oval 19">
              <a:extLst>
                <a:ext uri="{FF2B5EF4-FFF2-40B4-BE49-F238E27FC236}">
                  <a16:creationId xmlns:a16="http://schemas.microsoft.com/office/drawing/2014/main" id="{582576DF-DD50-FF60-5F49-2CE54072CE17}"/>
                </a:ext>
              </a:extLst>
            </p:cNvPr>
            <p:cNvSpPr/>
            <p:nvPr/>
          </p:nvSpPr>
          <p:spPr>
            <a:xfrm>
              <a:off x="7974968" y="2276856"/>
              <a:ext cx="1317272" cy="1317272"/>
            </a:xfrm>
            <a:prstGeom prst="ellipse">
              <a:avLst/>
            </a:prstGeom>
            <a:solidFill>
              <a:srgbClr val="7F6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1" name="Group 20">
              <a:extLst>
                <a:ext uri="{FF2B5EF4-FFF2-40B4-BE49-F238E27FC236}">
                  <a16:creationId xmlns:a16="http://schemas.microsoft.com/office/drawing/2014/main" id="{8EAD855A-D479-DA0F-1AC3-9633F62E93D3}"/>
                </a:ext>
              </a:extLst>
            </p:cNvPr>
            <p:cNvGrpSpPr>
              <a:grpSpLocks noChangeAspect="1"/>
            </p:cNvGrpSpPr>
            <p:nvPr/>
          </p:nvGrpSpPr>
          <p:grpSpPr>
            <a:xfrm>
              <a:off x="8244035" y="2546299"/>
              <a:ext cx="779137" cy="778385"/>
              <a:chOff x="5272881" y="2606675"/>
              <a:chExt cx="1646238" cy="1644650"/>
            </a:xfrm>
          </p:grpSpPr>
          <p:sp>
            <p:nvSpPr>
              <p:cNvPr id="22" name="AutoShape 3">
                <a:extLst>
                  <a:ext uri="{FF2B5EF4-FFF2-40B4-BE49-F238E27FC236}">
                    <a16:creationId xmlns:a16="http://schemas.microsoft.com/office/drawing/2014/main" id="{00C06DD4-66E2-578A-F2DE-41082AEBA30F}"/>
                  </a:ext>
                </a:extLst>
              </p:cNvPr>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1">
                <a:extLst>
                  <a:ext uri="{FF2B5EF4-FFF2-40B4-BE49-F238E27FC236}">
                    <a16:creationId xmlns:a16="http://schemas.microsoft.com/office/drawing/2014/main" id="{D99BD334-2505-27F6-F229-298C47E5F7C5}"/>
                  </a:ext>
                </a:extLst>
              </p:cNvPr>
              <p:cNvSpPr>
                <a:spLocks/>
              </p:cNvSpPr>
              <p:nvPr/>
            </p:nvSpPr>
            <p:spPr bwMode="auto">
              <a:xfrm>
                <a:off x="5444331" y="2962275"/>
                <a:ext cx="1304925" cy="931863"/>
              </a:xfrm>
              <a:custGeom>
                <a:avLst/>
                <a:gdLst>
                  <a:gd name="connsiteX0" fmla="*/ 1243013 w 1304925"/>
                  <a:gd name="connsiteY0" fmla="*/ 222250 h 931863"/>
                  <a:gd name="connsiteX1" fmla="*/ 1243013 w 1304925"/>
                  <a:gd name="connsiteY1" fmla="*/ 869950 h 931863"/>
                  <a:gd name="connsiteX2" fmla="*/ 76200 w 1304925"/>
                  <a:gd name="connsiteY2" fmla="*/ 869950 h 931863"/>
                  <a:gd name="connsiteX3" fmla="*/ 86204 w 1304925"/>
                  <a:gd name="connsiteY3" fmla="*/ 862095 h 931863"/>
                  <a:gd name="connsiteX4" fmla="*/ 106210 w 1304925"/>
                  <a:gd name="connsiteY4" fmla="*/ 839243 h 931863"/>
                  <a:gd name="connsiteX5" fmla="*/ 280553 w 1304925"/>
                  <a:gd name="connsiteY5" fmla="*/ 643576 h 931863"/>
                  <a:gd name="connsiteX6" fmla="*/ 281268 w 1304925"/>
                  <a:gd name="connsiteY6" fmla="*/ 643576 h 931863"/>
                  <a:gd name="connsiteX7" fmla="*/ 305562 w 1304925"/>
                  <a:gd name="connsiteY7" fmla="*/ 615726 h 931863"/>
                  <a:gd name="connsiteX8" fmla="*/ 436319 w 1304925"/>
                  <a:gd name="connsiteY8" fmla="*/ 677854 h 931863"/>
                  <a:gd name="connsiteX9" fmla="*/ 437748 w 1304925"/>
                  <a:gd name="connsiteY9" fmla="*/ 677854 h 931863"/>
                  <a:gd name="connsiteX10" fmla="*/ 457040 w 1304925"/>
                  <a:gd name="connsiteY10" fmla="*/ 682139 h 931863"/>
                  <a:gd name="connsiteX11" fmla="*/ 492052 w 1304925"/>
                  <a:gd name="connsiteY11" fmla="*/ 667142 h 931863"/>
                  <a:gd name="connsiteX12" fmla="*/ 512058 w 1304925"/>
                  <a:gd name="connsiteY12" fmla="*/ 645719 h 931863"/>
                  <a:gd name="connsiteX13" fmla="*/ 688545 w 1304925"/>
                  <a:gd name="connsiteY13" fmla="*/ 461478 h 931863"/>
                  <a:gd name="connsiteX14" fmla="*/ 714982 w 1304925"/>
                  <a:gd name="connsiteY14" fmla="*/ 432913 h 931863"/>
                  <a:gd name="connsiteX15" fmla="*/ 724271 w 1304925"/>
                  <a:gd name="connsiteY15" fmla="*/ 422916 h 931863"/>
                  <a:gd name="connsiteX16" fmla="*/ 847883 w 1304925"/>
                  <a:gd name="connsiteY16" fmla="*/ 506467 h 931863"/>
                  <a:gd name="connsiteX17" fmla="*/ 853599 w 1304925"/>
                  <a:gd name="connsiteY17" fmla="*/ 510037 h 931863"/>
                  <a:gd name="connsiteX18" fmla="*/ 875749 w 1304925"/>
                  <a:gd name="connsiteY18" fmla="*/ 522891 h 931863"/>
                  <a:gd name="connsiteX19" fmla="*/ 887896 w 1304925"/>
                  <a:gd name="connsiteY19" fmla="*/ 531461 h 931863"/>
                  <a:gd name="connsiteX20" fmla="*/ 889325 w 1304925"/>
                  <a:gd name="connsiteY20" fmla="*/ 532175 h 931863"/>
                  <a:gd name="connsiteX21" fmla="*/ 911475 w 1304925"/>
                  <a:gd name="connsiteY21" fmla="*/ 538602 h 931863"/>
                  <a:gd name="connsiteX22" fmla="*/ 943629 w 1304925"/>
                  <a:gd name="connsiteY22" fmla="*/ 524320 h 931863"/>
                  <a:gd name="connsiteX23" fmla="*/ 1088677 w 1304925"/>
                  <a:gd name="connsiteY23" fmla="*/ 357217 h 931863"/>
                  <a:gd name="connsiteX24" fmla="*/ 1105111 w 1304925"/>
                  <a:gd name="connsiteY24" fmla="*/ 340079 h 931863"/>
                  <a:gd name="connsiteX25" fmla="*/ 1139408 w 1304925"/>
                  <a:gd name="connsiteY25" fmla="*/ 367929 h 931863"/>
                  <a:gd name="connsiteX26" fmla="*/ 1166559 w 1304925"/>
                  <a:gd name="connsiteY26" fmla="*/ 377927 h 931863"/>
                  <a:gd name="connsiteX27" fmla="*/ 1207287 w 1304925"/>
                  <a:gd name="connsiteY27" fmla="*/ 347220 h 931863"/>
                  <a:gd name="connsiteX28" fmla="*/ 1227594 w 1304925"/>
                  <a:gd name="connsiteY28" fmla="*/ 90488 h 931863"/>
                  <a:gd name="connsiteX29" fmla="*/ 1242612 w 1304925"/>
                  <a:gd name="connsiteY29" fmla="*/ 110474 h 931863"/>
                  <a:gd name="connsiteX30" fmla="*/ 1176819 w 1304925"/>
                  <a:gd name="connsiteY30" fmla="*/ 338167 h 931863"/>
                  <a:gd name="connsiteX31" fmla="*/ 1166807 w 1304925"/>
                  <a:gd name="connsiteY31" fmla="*/ 346018 h 931863"/>
                  <a:gd name="connsiteX32" fmla="*/ 1159656 w 1304925"/>
                  <a:gd name="connsiteY32" fmla="*/ 343163 h 931863"/>
                  <a:gd name="connsiteX33" fmla="*/ 1109596 w 1304925"/>
                  <a:gd name="connsiteY33" fmla="*/ 302478 h 931863"/>
                  <a:gd name="connsiteX34" fmla="*/ 1103160 w 1304925"/>
                  <a:gd name="connsiteY34" fmla="*/ 300337 h 931863"/>
                  <a:gd name="connsiteX35" fmla="*/ 1094578 w 1304925"/>
                  <a:gd name="connsiteY35" fmla="*/ 303906 h 931863"/>
                  <a:gd name="connsiteX36" fmla="*/ 1065972 w 1304925"/>
                  <a:gd name="connsiteY36" fmla="*/ 335312 h 931863"/>
                  <a:gd name="connsiteX37" fmla="*/ 920084 w 1304925"/>
                  <a:gd name="connsiteY37" fmla="*/ 503048 h 931863"/>
                  <a:gd name="connsiteX38" fmla="*/ 911502 w 1304925"/>
                  <a:gd name="connsiteY38" fmla="*/ 506617 h 931863"/>
                  <a:gd name="connsiteX39" fmla="*/ 905781 w 1304925"/>
                  <a:gd name="connsiteY39" fmla="*/ 505190 h 931863"/>
                  <a:gd name="connsiteX40" fmla="*/ 892193 w 1304925"/>
                  <a:gd name="connsiteY40" fmla="*/ 495911 h 931863"/>
                  <a:gd name="connsiteX41" fmla="*/ 866448 w 1304925"/>
                  <a:gd name="connsiteY41" fmla="*/ 480208 h 931863"/>
                  <a:gd name="connsiteX42" fmla="*/ 865733 w 1304925"/>
                  <a:gd name="connsiteY42" fmla="*/ 480208 h 931863"/>
                  <a:gd name="connsiteX43" fmla="*/ 727710 w 1304925"/>
                  <a:gd name="connsiteY43" fmla="*/ 386703 h 931863"/>
                  <a:gd name="connsiteX44" fmla="*/ 721274 w 1304925"/>
                  <a:gd name="connsiteY44" fmla="*/ 384562 h 931863"/>
                  <a:gd name="connsiteX45" fmla="*/ 713407 w 1304925"/>
                  <a:gd name="connsiteY45" fmla="*/ 388131 h 931863"/>
                  <a:gd name="connsiteX46" fmla="*/ 691238 w 1304925"/>
                  <a:gd name="connsiteY46" fmla="*/ 410972 h 931863"/>
                  <a:gd name="connsiteX47" fmla="*/ 665493 w 1304925"/>
                  <a:gd name="connsiteY47" fmla="*/ 439523 h 931863"/>
                  <a:gd name="connsiteX48" fmla="*/ 488853 w 1304925"/>
                  <a:gd name="connsiteY48" fmla="*/ 623676 h 931863"/>
                  <a:gd name="connsiteX49" fmla="*/ 468829 w 1304925"/>
                  <a:gd name="connsiteY49" fmla="*/ 645089 h 931863"/>
                  <a:gd name="connsiteX50" fmla="*/ 456672 w 1304925"/>
                  <a:gd name="connsiteY50" fmla="*/ 650085 h 931863"/>
                  <a:gd name="connsiteX51" fmla="*/ 449520 w 1304925"/>
                  <a:gd name="connsiteY51" fmla="*/ 648658 h 931863"/>
                  <a:gd name="connsiteX52" fmla="*/ 303631 w 1304925"/>
                  <a:gd name="connsiteY52" fmla="*/ 580136 h 931863"/>
                  <a:gd name="connsiteX53" fmla="*/ 299340 w 1304925"/>
                  <a:gd name="connsiteY53" fmla="*/ 579422 h 931863"/>
                  <a:gd name="connsiteX54" fmla="*/ 290044 w 1304925"/>
                  <a:gd name="connsiteY54" fmla="*/ 582991 h 931863"/>
                  <a:gd name="connsiteX55" fmla="*/ 284322 w 1304925"/>
                  <a:gd name="connsiteY55" fmla="*/ 590842 h 931863"/>
                  <a:gd name="connsiteX56" fmla="*/ 256432 w 1304925"/>
                  <a:gd name="connsiteY56" fmla="*/ 622248 h 931863"/>
                  <a:gd name="connsiteX57" fmla="*/ 81937 w 1304925"/>
                  <a:gd name="connsiteY57" fmla="*/ 817822 h 931863"/>
                  <a:gd name="connsiteX58" fmla="*/ 61913 w 1304925"/>
                  <a:gd name="connsiteY58" fmla="*/ 841376 h 931863"/>
                  <a:gd name="connsiteX59" fmla="*/ 81937 w 1304925"/>
                  <a:gd name="connsiteY59" fmla="*/ 814967 h 931863"/>
                  <a:gd name="connsiteX60" fmla="*/ 256432 w 1304925"/>
                  <a:gd name="connsiteY60" fmla="*/ 582991 h 931863"/>
                  <a:gd name="connsiteX61" fmla="*/ 279316 w 1304925"/>
                  <a:gd name="connsiteY61" fmla="*/ 553012 h 931863"/>
                  <a:gd name="connsiteX62" fmla="*/ 288613 w 1304925"/>
                  <a:gd name="connsiteY62" fmla="*/ 548730 h 931863"/>
                  <a:gd name="connsiteX63" fmla="*/ 292189 w 1304925"/>
                  <a:gd name="connsiteY63" fmla="*/ 549443 h 931863"/>
                  <a:gd name="connsiteX64" fmla="*/ 445229 w 1304925"/>
                  <a:gd name="connsiteY64" fmla="*/ 605118 h 931863"/>
                  <a:gd name="connsiteX65" fmla="*/ 449520 w 1304925"/>
                  <a:gd name="connsiteY65" fmla="*/ 605831 h 931863"/>
                  <a:gd name="connsiteX66" fmla="*/ 457387 w 1304925"/>
                  <a:gd name="connsiteY66" fmla="*/ 601549 h 931863"/>
                  <a:gd name="connsiteX67" fmla="*/ 488853 w 1304925"/>
                  <a:gd name="connsiteY67" fmla="*/ 563719 h 931863"/>
                  <a:gd name="connsiteX68" fmla="*/ 665493 w 1304925"/>
                  <a:gd name="connsiteY68" fmla="*/ 356011 h 931863"/>
                  <a:gd name="connsiteX69" fmla="*/ 691238 w 1304925"/>
                  <a:gd name="connsiteY69" fmla="*/ 324605 h 931863"/>
                  <a:gd name="connsiteX70" fmla="*/ 701965 w 1304925"/>
                  <a:gd name="connsiteY70" fmla="*/ 311044 h 931863"/>
                  <a:gd name="connsiteX71" fmla="*/ 710547 w 1304925"/>
                  <a:gd name="connsiteY71" fmla="*/ 307475 h 931863"/>
                  <a:gd name="connsiteX72" fmla="*/ 716268 w 1304925"/>
                  <a:gd name="connsiteY72" fmla="*/ 308902 h 931863"/>
                  <a:gd name="connsiteX73" fmla="*/ 866448 w 1304925"/>
                  <a:gd name="connsiteY73" fmla="*/ 398124 h 931863"/>
                  <a:gd name="connsiteX74" fmla="*/ 892193 w 1304925"/>
                  <a:gd name="connsiteY74" fmla="*/ 413827 h 931863"/>
                  <a:gd name="connsiteX75" fmla="*/ 892193 w 1304925"/>
                  <a:gd name="connsiteY75" fmla="*/ 414541 h 931863"/>
                  <a:gd name="connsiteX76" fmla="*/ 897914 w 1304925"/>
                  <a:gd name="connsiteY76" fmla="*/ 415968 h 931863"/>
                  <a:gd name="connsiteX77" fmla="*/ 906496 w 1304925"/>
                  <a:gd name="connsiteY77" fmla="*/ 411685 h 931863"/>
                  <a:gd name="connsiteX78" fmla="*/ 1037367 w 1304925"/>
                  <a:gd name="connsiteY78" fmla="*/ 258225 h 931863"/>
                  <a:gd name="connsiteX79" fmla="*/ 1035221 w 1304925"/>
                  <a:gd name="connsiteY79" fmla="*/ 243949 h 931863"/>
                  <a:gd name="connsiteX80" fmla="*/ 986592 w 1304925"/>
                  <a:gd name="connsiteY80" fmla="*/ 207547 h 931863"/>
                  <a:gd name="connsiteX81" fmla="*/ 988737 w 1304925"/>
                  <a:gd name="connsiteY81" fmla="*/ 189702 h 931863"/>
                  <a:gd name="connsiteX82" fmla="*/ 999464 w 1304925"/>
                  <a:gd name="connsiteY82" fmla="*/ 185420 h 931863"/>
                  <a:gd name="connsiteX83" fmla="*/ 1220443 w 1304925"/>
                  <a:gd name="connsiteY83" fmla="*/ 91916 h 931863"/>
                  <a:gd name="connsiteX84" fmla="*/ 1227594 w 1304925"/>
                  <a:gd name="connsiteY84" fmla="*/ 90488 h 931863"/>
                  <a:gd name="connsiteX85" fmla="*/ 30163 w 1304925"/>
                  <a:gd name="connsiteY85" fmla="*/ 31750 h 931863"/>
                  <a:gd name="connsiteX86" fmla="*/ 30163 w 1304925"/>
                  <a:gd name="connsiteY86" fmla="*/ 900113 h 931863"/>
                  <a:gd name="connsiteX87" fmla="*/ 1274763 w 1304925"/>
                  <a:gd name="connsiteY87" fmla="*/ 900113 h 931863"/>
                  <a:gd name="connsiteX88" fmla="*/ 1274763 w 1304925"/>
                  <a:gd name="connsiteY88" fmla="*/ 31750 h 931863"/>
                  <a:gd name="connsiteX89" fmla="*/ 30163 w 1304925"/>
                  <a:gd name="connsiteY89" fmla="*/ 31750 h 931863"/>
                  <a:gd name="connsiteX90" fmla="*/ 15705 w 1304925"/>
                  <a:gd name="connsiteY90" fmla="*/ 0 h 931863"/>
                  <a:gd name="connsiteX91" fmla="*/ 1289220 w 1304925"/>
                  <a:gd name="connsiteY91" fmla="*/ 0 h 931863"/>
                  <a:gd name="connsiteX92" fmla="*/ 1304925 w 1304925"/>
                  <a:gd name="connsiteY92" fmla="*/ 15698 h 931863"/>
                  <a:gd name="connsiteX93" fmla="*/ 1304925 w 1304925"/>
                  <a:gd name="connsiteY93" fmla="*/ 916166 h 931863"/>
                  <a:gd name="connsiteX94" fmla="*/ 1289220 w 1304925"/>
                  <a:gd name="connsiteY94" fmla="*/ 931863 h 931863"/>
                  <a:gd name="connsiteX95" fmla="*/ 15705 w 1304925"/>
                  <a:gd name="connsiteY95" fmla="*/ 931863 h 931863"/>
                  <a:gd name="connsiteX96" fmla="*/ 0 w 1304925"/>
                  <a:gd name="connsiteY96" fmla="*/ 916166 h 931863"/>
                  <a:gd name="connsiteX97" fmla="*/ 0 w 1304925"/>
                  <a:gd name="connsiteY97" fmla="*/ 15698 h 931863"/>
                  <a:gd name="connsiteX98" fmla="*/ 15705 w 1304925"/>
                  <a:gd name="connsiteY98"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304925" h="931863">
                    <a:moveTo>
                      <a:pt x="1243013" y="222250"/>
                    </a:moveTo>
                    <a:cubicBezTo>
                      <a:pt x="1243013" y="222250"/>
                      <a:pt x="1243013" y="222250"/>
                      <a:pt x="1243013" y="869950"/>
                    </a:cubicBezTo>
                    <a:cubicBezTo>
                      <a:pt x="1243013" y="869950"/>
                      <a:pt x="1243013" y="869950"/>
                      <a:pt x="76200" y="869950"/>
                    </a:cubicBezTo>
                    <a:cubicBezTo>
                      <a:pt x="79773" y="868522"/>
                      <a:pt x="83345" y="865665"/>
                      <a:pt x="86204" y="862095"/>
                    </a:cubicBezTo>
                    <a:cubicBezTo>
                      <a:pt x="86204" y="862095"/>
                      <a:pt x="86204" y="862095"/>
                      <a:pt x="106210" y="839243"/>
                    </a:cubicBezTo>
                    <a:cubicBezTo>
                      <a:pt x="106210" y="839243"/>
                      <a:pt x="106210" y="839243"/>
                      <a:pt x="280553" y="643576"/>
                    </a:cubicBezTo>
                    <a:cubicBezTo>
                      <a:pt x="280553" y="643576"/>
                      <a:pt x="280553" y="643576"/>
                      <a:pt x="281268" y="643576"/>
                    </a:cubicBezTo>
                    <a:cubicBezTo>
                      <a:pt x="281268" y="643576"/>
                      <a:pt x="281268" y="643576"/>
                      <a:pt x="305562" y="615726"/>
                    </a:cubicBezTo>
                    <a:cubicBezTo>
                      <a:pt x="305562" y="615726"/>
                      <a:pt x="305562" y="615726"/>
                      <a:pt x="436319" y="677854"/>
                    </a:cubicBezTo>
                    <a:cubicBezTo>
                      <a:pt x="437033" y="677854"/>
                      <a:pt x="437033" y="677854"/>
                      <a:pt x="437748" y="677854"/>
                    </a:cubicBezTo>
                    <a:cubicBezTo>
                      <a:pt x="443464" y="680710"/>
                      <a:pt x="450609" y="682139"/>
                      <a:pt x="457040" y="682139"/>
                    </a:cubicBezTo>
                    <a:cubicBezTo>
                      <a:pt x="470616" y="682139"/>
                      <a:pt x="483477" y="676426"/>
                      <a:pt x="492052" y="667142"/>
                    </a:cubicBezTo>
                    <a:cubicBezTo>
                      <a:pt x="492052" y="667142"/>
                      <a:pt x="492052" y="667142"/>
                      <a:pt x="512058" y="645719"/>
                    </a:cubicBezTo>
                    <a:cubicBezTo>
                      <a:pt x="512058" y="645719"/>
                      <a:pt x="512058" y="645719"/>
                      <a:pt x="688545" y="461478"/>
                    </a:cubicBezTo>
                    <a:cubicBezTo>
                      <a:pt x="688545" y="461478"/>
                      <a:pt x="688545" y="461478"/>
                      <a:pt x="714982" y="432913"/>
                    </a:cubicBezTo>
                    <a:cubicBezTo>
                      <a:pt x="714982" y="432913"/>
                      <a:pt x="714982" y="432913"/>
                      <a:pt x="724271" y="422916"/>
                    </a:cubicBezTo>
                    <a:cubicBezTo>
                      <a:pt x="724271" y="422916"/>
                      <a:pt x="724271" y="422916"/>
                      <a:pt x="847883" y="506467"/>
                    </a:cubicBezTo>
                    <a:cubicBezTo>
                      <a:pt x="850027" y="507895"/>
                      <a:pt x="851456" y="509323"/>
                      <a:pt x="853599" y="510037"/>
                    </a:cubicBezTo>
                    <a:cubicBezTo>
                      <a:pt x="853599" y="510037"/>
                      <a:pt x="853599" y="510037"/>
                      <a:pt x="875749" y="522891"/>
                    </a:cubicBezTo>
                    <a:cubicBezTo>
                      <a:pt x="875749" y="522891"/>
                      <a:pt x="875749" y="522891"/>
                      <a:pt x="887896" y="531461"/>
                    </a:cubicBezTo>
                    <a:cubicBezTo>
                      <a:pt x="888611" y="532175"/>
                      <a:pt x="888611" y="532175"/>
                      <a:pt x="889325" y="532175"/>
                    </a:cubicBezTo>
                    <a:cubicBezTo>
                      <a:pt x="895756" y="536460"/>
                      <a:pt x="903616" y="538602"/>
                      <a:pt x="911475" y="538602"/>
                    </a:cubicBezTo>
                    <a:cubicBezTo>
                      <a:pt x="924337" y="538602"/>
                      <a:pt x="935769" y="533603"/>
                      <a:pt x="943629" y="524320"/>
                    </a:cubicBezTo>
                    <a:cubicBezTo>
                      <a:pt x="943629" y="524320"/>
                      <a:pt x="943629" y="524320"/>
                      <a:pt x="1088677" y="357217"/>
                    </a:cubicBezTo>
                    <a:cubicBezTo>
                      <a:pt x="1088677" y="357217"/>
                      <a:pt x="1088677" y="357217"/>
                      <a:pt x="1105111" y="340079"/>
                    </a:cubicBezTo>
                    <a:cubicBezTo>
                      <a:pt x="1105111" y="340079"/>
                      <a:pt x="1105111" y="340079"/>
                      <a:pt x="1139408" y="367929"/>
                    </a:cubicBezTo>
                    <a:cubicBezTo>
                      <a:pt x="1147267" y="374356"/>
                      <a:pt x="1157271" y="377927"/>
                      <a:pt x="1166559" y="377927"/>
                    </a:cubicBezTo>
                    <a:cubicBezTo>
                      <a:pt x="1185851" y="377927"/>
                      <a:pt x="1201571" y="365787"/>
                      <a:pt x="1207287" y="347220"/>
                    </a:cubicBezTo>
                    <a:close/>
                    <a:moveTo>
                      <a:pt x="1227594" y="90488"/>
                    </a:moveTo>
                    <a:cubicBezTo>
                      <a:pt x="1237606" y="90488"/>
                      <a:pt x="1246188" y="100481"/>
                      <a:pt x="1242612" y="110474"/>
                    </a:cubicBezTo>
                    <a:cubicBezTo>
                      <a:pt x="1242612" y="110474"/>
                      <a:pt x="1242612" y="110474"/>
                      <a:pt x="1176819" y="338167"/>
                    </a:cubicBezTo>
                    <a:cubicBezTo>
                      <a:pt x="1175389" y="343163"/>
                      <a:pt x="1171813" y="346018"/>
                      <a:pt x="1166807" y="346018"/>
                    </a:cubicBezTo>
                    <a:cubicBezTo>
                      <a:pt x="1164662" y="346018"/>
                      <a:pt x="1161801" y="345305"/>
                      <a:pt x="1159656" y="343163"/>
                    </a:cubicBezTo>
                    <a:cubicBezTo>
                      <a:pt x="1159656" y="343163"/>
                      <a:pt x="1159656" y="343163"/>
                      <a:pt x="1109596" y="302478"/>
                    </a:cubicBezTo>
                    <a:cubicBezTo>
                      <a:pt x="1108166" y="301051"/>
                      <a:pt x="1105305" y="300337"/>
                      <a:pt x="1103160" y="300337"/>
                    </a:cubicBezTo>
                    <a:cubicBezTo>
                      <a:pt x="1100299" y="300337"/>
                      <a:pt x="1096724" y="301765"/>
                      <a:pt x="1094578" y="303906"/>
                    </a:cubicBezTo>
                    <a:cubicBezTo>
                      <a:pt x="1094578" y="303906"/>
                      <a:pt x="1094578" y="303906"/>
                      <a:pt x="1065972" y="335312"/>
                    </a:cubicBezTo>
                    <a:cubicBezTo>
                      <a:pt x="1065972" y="335312"/>
                      <a:pt x="1065972" y="335312"/>
                      <a:pt x="920084" y="503048"/>
                    </a:cubicBezTo>
                    <a:cubicBezTo>
                      <a:pt x="917938" y="505903"/>
                      <a:pt x="915078" y="506617"/>
                      <a:pt x="911502" y="506617"/>
                    </a:cubicBezTo>
                    <a:cubicBezTo>
                      <a:pt x="910072" y="506617"/>
                      <a:pt x="907926" y="506617"/>
                      <a:pt x="905781" y="505190"/>
                    </a:cubicBezTo>
                    <a:cubicBezTo>
                      <a:pt x="905781" y="505190"/>
                      <a:pt x="905781" y="505190"/>
                      <a:pt x="892193" y="495911"/>
                    </a:cubicBezTo>
                    <a:cubicBezTo>
                      <a:pt x="892193" y="495911"/>
                      <a:pt x="892193" y="495911"/>
                      <a:pt x="866448" y="480208"/>
                    </a:cubicBezTo>
                    <a:cubicBezTo>
                      <a:pt x="866448" y="480208"/>
                      <a:pt x="866448" y="480208"/>
                      <a:pt x="865733" y="480208"/>
                    </a:cubicBezTo>
                    <a:cubicBezTo>
                      <a:pt x="865733" y="480208"/>
                      <a:pt x="865733" y="480208"/>
                      <a:pt x="727710" y="386703"/>
                    </a:cubicBezTo>
                    <a:cubicBezTo>
                      <a:pt x="725565" y="385276"/>
                      <a:pt x="723419" y="384562"/>
                      <a:pt x="721274" y="384562"/>
                    </a:cubicBezTo>
                    <a:cubicBezTo>
                      <a:pt x="718413" y="384562"/>
                      <a:pt x="715553" y="385990"/>
                      <a:pt x="713407" y="388131"/>
                    </a:cubicBezTo>
                    <a:cubicBezTo>
                      <a:pt x="713407" y="388131"/>
                      <a:pt x="713407" y="388131"/>
                      <a:pt x="691238" y="410972"/>
                    </a:cubicBezTo>
                    <a:cubicBezTo>
                      <a:pt x="691238" y="410972"/>
                      <a:pt x="691238" y="410972"/>
                      <a:pt x="665493" y="439523"/>
                    </a:cubicBezTo>
                    <a:cubicBezTo>
                      <a:pt x="665493" y="439523"/>
                      <a:pt x="665493" y="439523"/>
                      <a:pt x="488853" y="623676"/>
                    </a:cubicBezTo>
                    <a:cubicBezTo>
                      <a:pt x="488853" y="623676"/>
                      <a:pt x="488853" y="623676"/>
                      <a:pt x="468829" y="645089"/>
                    </a:cubicBezTo>
                    <a:cubicBezTo>
                      <a:pt x="465968" y="648658"/>
                      <a:pt x="461678" y="650085"/>
                      <a:pt x="456672" y="650085"/>
                    </a:cubicBezTo>
                    <a:cubicBezTo>
                      <a:pt x="454526" y="650085"/>
                      <a:pt x="451666" y="649372"/>
                      <a:pt x="449520" y="648658"/>
                    </a:cubicBezTo>
                    <a:cubicBezTo>
                      <a:pt x="449520" y="648658"/>
                      <a:pt x="449520" y="648658"/>
                      <a:pt x="303631" y="580136"/>
                    </a:cubicBezTo>
                    <a:cubicBezTo>
                      <a:pt x="302201" y="579422"/>
                      <a:pt x="300771" y="579422"/>
                      <a:pt x="299340" y="579422"/>
                    </a:cubicBezTo>
                    <a:cubicBezTo>
                      <a:pt x="295765" y="579422"/>
                      <a:pt x="292189" y="580849"/>
                      <a:pt x="290044" y="582991"/>
                    </a:cubicBezTo>
                    <a:cubicBezTo>
                      <a:pt x="290044" y="582991"/>
                      <a:pt x="290044" y="582991"/>
                      <a:pt x="284322" y="590842"/>
                    </a:cubicBezTo>
                    <a:cubicBezTo>
                      <a:pt x="284322" y="590842"/>
                      <a:pt x="284322" y="590842"/>
                      <a:pt x="256432" y="622248"/>
                    </a:cubicBezTo>
                    <a:cubicBezTo>
                      <a:pt x="256432" y="622248"/>
                      <a:pt x="256432" y="622248"/>
                      <a:pt x="81937" y="817822"/>
                    </a:cubicBezTo>
                    <a:cubicBezTo>
                      <a:pt x="81937" y="817822"/>
                      <a:pt x="81937" y="817822"/>
                      <a:pt x="61913" y="841376"/>
                    </a:cubicBezTo>
                    <a:cubicBezTo>
                      <a:pt x="61913" y="841376"/>
                      <a:pt x="61913" y="841376"/>
                      <a:pt x="81937" y="814967"/>
                    </a:cubicBezTo>
                    <a:cubicBezTo>
                      <a:pt x="81937" y="814967"/>
                      <a:pt x="81937" y="814967"/>
                      <a:pt x="256432" y="582991"/>
                    </a:cubicBezTo>
                    <a:cubicBezTo>
                      <a:pt x="256432" y="582991"/>
                      <a:pt x="256432" y="582991"/>
                      <a:pt x="279316" y="553012"/>
                    </a:cubicBezTo>
                    <a:cubicBezTo>
                      <a:pt x="281462" y="550157"/>
                      <a:pt x="285038" y="548730"/>
                      <a:pt x="288613" y="548730"/>
                    </a:cubicBezTo>
                    <a:cubicBezTo>
                      <a:pt x="289328" y="548730"/>
                      <a:pt x="290759" y="548730"/>
                      <a:pt x="292189" y="549443"/>
                    </a:cubicBezTo>
                    <a:cubicBezTo>
                      <a:pt x="292189" y="549443"/>
                      <a:pt x="292189" y="549443"/>
                      <a:pt x="445229" y="605118"/>
                    </a:cubicBezTo>
                    <a:cubicBezTo>
                      <a:pt x="446660" y="605831"/>
                      <a:pt x="448090" y="605831"/>
                      <a:pt x="449520" y="605831"/>
                    </a:cubicBezTo>
                    <a:cubicBezTo>
                      <a:pt x="452381" y="605831"/>
                      <a:pt x="455956" y="604404"/>
                      <a:pt x="457387" y="601549"/>
                    </a:cubicBezTo>
                    <a:cubicBezTo>
                      <a:pt x="457387" y="601549"/>
                      <a:pt x="457387" y="601549"/>
                      <a:pt x="488853" y="563719"/>
                    </a:cubicBezTo>
                    <a:cubicBezTo>
                      <a:pt x="488853" y="563719"/>
                      <a:pt x="488853" y="563719"/>
                      <a:pt x="665493" y="356011"/>
                    </a:cubicBezTo>
                    <a:cubicBezTo>
                      <a:pt x="665493" y="356011"/>
                      <a:pt x="665493" y="356011"/>
                      <a:pt x="691238" y="324605"/>
                    </a:cubicBezTo>
                    <a:cubicBezTo>
                      <a:pt x="691238" y="324605"/>
                      <a:pt x="691238" y="324605"/>
                      <a:pt x="701965" y="311044"/>
                    </a:cubicBezTo>
                    <a:cubicBezTo>
                      <a:pt x="704111" y="308902"/>
                      <a:pt x="706971" y="307475"/>
                      <a:pt x="710547" y="307475"/>
                    </a:cubicBezTo>
                    <a:cubicBezTo>
                      <a:pt x="712692" y="307475"/>
                      <a:pt x="714123" y="308189"/>
                      <a:pt x="716268" y="308902"/>
                    </a:cubicBezTo>
                    <a:cubicBezTo>
                      <a:pt x="716268" y="308902"/>
                      <a:pt x="716268" y="308902"/>
                      <a:pt x="866448" y="398124"/>
                    </a:cubicBezTo>
                    <a:cubicBezTo>
                      <a:pt x="866448" y="398124"/>
                      <a:pt x="866448" y="398124"/>
                      <a:pt x="892193" y="413827"/>
                    </a:cubicBezTo>
                    <a:cubicBezTo>
                      <a:pt x="892193" y="413827"/>
                      <a:pt x="892193" y="413827"/>
                      <a:pt x="892193" y="414541"/>
                    </a:cubicBezTo>
                    <a:cubicBezTo>
                      <a:pt x="894338" y="415254"/>
                      <a:pt x="895769" y="415968"/>
                      <a:pt x="897914" y="415968"/>
                    </a:cubicBezTo>
                    <a:cubicBezTo>
                      <a:pt x="901490" y="415968"/>
                      <a:pt x="905066" y="414541"/>
                      <a:pt x="906496" y="411685"/>
                    </a:cubicBezTo>
                    <a:cubicBezTo>
                      <a:pt x="906496" y="411685"/>
                      <a:pt x="906496" y="411685"/>
                      <a:pt x="1037367" y="258225"/>
                    </a:cubicBezTo>
                    <a:cubicBezTo>
                      <a:pt x="1040942" y="253942"/>
                      <a:pt x="1040227" y="247518"/>
                      <a:pt x="1035221" y="243949"/>
                    </a:cubicBezTo>
                    <a:cubicBezTo>
                      <a:pt x="1035221" y="243949"/>
                      <a:pt x="1035221" y="243949"/>
                      <a:pt x="986592" y="207547"/>
                    </a:cubicBezTo>
                    <a:cubicBezTo>
                      <a:pt x="980155" y="202550"/>
                      <a:pt x="981586" y="192558"/>
                      <a:pt x="988737" y="189702"/>
                    </a:cubicBezTo>
                    <a:cubicBezTo>
                      <a:pt x="988737" y="189702"/>
                      <a:pt x="988737" y="189702"/>
                      <a:pt x="999464" y="185420"/>
                    </a:cubicBezTo>
                    <a:cubicBezTo>
                      <a:pt x="999464" y="185420"/>
                      <a:pt x="999464" y="185420"/>
                      <a:pt x="1220443" y="91916"/>
                    </a:cubicBezTo>
                    <a:cubicBezTo>
                      <a:pt x="1222589" y="91202"/>
                      <a:pt x="1224734" y="90488"/>
                      <a:pt x="1227594" y="90488"/>
                    </a:cubicBezTo>
                    <a:close/>
                    <a:moveTo>
                      <a:pt x="30163" y="31750"/>
                    </a:moveTo>
                    <a:cubicBezTo>
                      <a:pt x="30163" y="900113"/>
                      <a:pt x="30163" y="900113"/>
                      <a:pt x="30163" y="900113"/>
                    </a:cubicBezTo>
                    <a:cubicBezTo>
                      <a:pt x="1274763" y="900113"/>
                      <a:pt x="1274763" y="900113"/>
                      <a:pt x="1274763" y="900113"/>
                    </a:cubicBezTo>
                    <a:cubicBezTo>
                      <a:pt x="1274763" y="31750"/>
                      <a:pt x="1274763" y="31750"/>
                      <a:pt x="1274763" y="31750"/>
                    </a:cubicBezTo>
                    <a:cubicBezTo>
                      <a:pt x="30163" y="31750"/>
                      <a:pt x="30163" y="31750"/>
                      <a:pt x="30163" y="31750"/>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grpSp>
        <p:sp>
          <p:nvSpPr>
            <p:cNvPr id="25" name="Rectangle 24">
              <a:extLst>
                <a:ext uri="{FF2B5EF4-FFF2-40B4-BE49-F238E27FC236}">
                  <a16:creationId xmlns:a16="http://schemas.microsoft.com/office/drawing/2014/main" id="{B733BD1C-C62C-6B44-D6D8-1EF8AE3686B6}"/>
                </a:ext>
              </a:extLst>
            </p:cNvPr>
            <p:cNvSpPr/>
            <p:nvPr/>
          </p:nvSpPr>
          <p:spPr>
            <a:xfrm>
              <a:off x="2860206" y="3429001"/>
              <a:ext cx="2201930" cy="1816656"/>
            </a:xfrm>
            <a:prstGeom prst="rect">
              <a:avLst/>
            </a:prstGeom>
            <a:solidFill>
              <a:schemeClr val="bg1">
                <a:alpha val="73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548640" rIns="0" rtlCol="0" anchor="t"/>
            <a:lstStyle/>
            <a:p>
              <a:pPr lvl="0" algn="ctr">
                <a:buFont typeface="Trebuchet MS" panose="020B0603020202020204" pitchFamily="34" charset="0"/>
                <a:buChar char="​"/>
                <a:defRPr/>
              </a:pPr>
              <a:r>
                <a:rPr lang="en-US" sz="1600" b="1">
                  <a:solidFill>
                    <a:srgbClr val="817A6C"/>
                  </a:solidFill>
                  <a:latin typeface="Arial" panose="020B0604020202020204" pitchFamily="34" charset="0"/>
                  <a:cs typeface="Arial" panose="020B0604020202020204" pitchFamily="34" charset="0"/>
                  <a:sym typeface="Arial" panose="020B0604020202020204" pitchFamily="34" charset="0"/>
                </a:rPr>
                <a:t>Localization</a:t>
              </a:r>
              <a:br>
                <a:rPr lang="en-US" sz="1600" b="1">
                  <a:solidFill>
                    <a:srgbClr val="817A6C"/>
                  </a:solidFill>
                  <a:latin typeface="Arial" panose="020B0604020202020204" pitchFamily="34" charset="0"/>
                  <a:cs typeface="Arial" panose="020B0604020202020204" pitchFamily="34" charset="0"/>
                  <a:sym typeface="Arial" panose="020B0604020202020204" pitchFamily="34" charset="0"/>
                </a:rPr>
              </a:br>
              <a:r>
                <a:rPr lang="en-US" sz="1600" b="1">
                  <a:solidFill>
                    <a:srgbClr val="817A6C"/>
                  </a:solidFill>
                  <a:latin typeface="Arial" panose="020B0604020202020204" pitchFamily="34" charset="0"/>
                  <a:cs typeface="Arial" panose="020B0604020202020204" pitchFamily="34" charset="0"/>
                  <a:sym typeface="Arial" panose="020B0604020202020204" pitchFamily="34" charset="0"/>
                </a:rPr>
                <a:t>&amp; </a:t>
              </a:r>
              <a:r>
                <a:rPr lang="en-US" sz="1600" b="1">
                  <a:solidFill>
                    <a:srgbClr val="817A6C"/>
                  </a:solidFill>
                  <a:latin typeface="Arial" panose="020B0604020202020204" pitchFamily="34" charset="0"/>
                  <a:cs typeface="Arial" panose="020B0604020202020204" pitchFamily="34" charset="0"/>
                  <a:sym typeface="Trebuchet MS" panose="020B0603020202020204" pitchFamily="34" charset="0"/>
                </a:rPr>
                <a:t>value-chain synergies</a:t>
              </a:r>
            </a:p>
          </p:txBody>
        </p:sp>
        <p:sp>
          <p:nvSpPr>
            <p:cNvPr id="27" name="Oval 26">
              <a:extLst>
                <a:ext uri="{FF2B5EF4-FFF2-40B4-BE49-F238E27FC236}">
                  <a16:creationId xmlns:a16="http://schemas.microsoft.com/office/drawing/2014/main" id="{FDBF06EE-81B0-EDE9-3029-58814042A888}"/>
                </a:ext>
              </a:extLst>
            </p:cNvPr>
            <p:cNvSpPr/>
            <p:nvPr/>
          </p:nvSpPr>
          <p:spPr>
            <a:xfrm>
              <a:off x="3302535" y="2276856"/>
              <a:ext cx="1317272" cy="1317272"/>
            </a:xfrm>
            <a:prstGeom prst="ellipse">
              <a:avLst/>
            </a:prstGeom>
            <a:solidFill>
              <a:srgbClr val="7F6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8" name="Group 27">
              <a:extLst>
                <a:ext uri="{FF2B5EF4-FFF2-40B4-BE49-F238E27FC236}">
                  <a16:creationId xmlns:a16="http://schemas.microsoft.com/office/drawing/2014/main" id="{A2DACA6F-1A70-19A7-A67B-C1FB86857C2A}"/>
                </a:ext>
              </a:extLst>
            </p:cNvPr>
            <p:cNvGrpSpPr>
              <a:grpSpLocks noChangeAspect="1"/>
            </p:cNvGrpSpPr>
            <p:nvPr/>
          </p:nvGrpSpPr>
          <p:grpSpPr>
            <a:xfrm>
              <a:off x="3571978" y="2546299"/>
              <a:ext cx="778385" cy="778385"/>
              <a:chOff x="5273675" y="2606675"/>
              <a:chExt cx="1644650" cy="1644650"/>
            </a:xfrm>
          </p:grpSpPr>
          <p:sp>
            <p:nvSpPr>
              <p:cNvPr id="29" name="AutoShape 3">
                <a:extLst>
                  <a:ext uri="{FF2B5EF4-FFF2-40B4-BE49-F238E27FC236}">
                    <a16:creationId xmlns:a16="http://schemas.microsoft.com/office/drawing/2014/main" id="{D1250300-0630-DB61-9250-025A8C381DAF}"/>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7">
                <a:extLst>
                  <a:ext uri="{FF2B5EF4-FFF2-40B4-BE49-F238E27FC236}">
                    <a16:creationId xmlns:a16="http://schemas.microsoft.com/office/drawing/2014/main" id="{5A739370-091F-2157-C34C-22DF10243DDE}"/>
                  </a:ext>
                </a:extLst>
              </p:cNvPr>
              <p:cNvSpPr>
                <a:spLocks/>
              </p:cNvSpPr>
              <p:nvPr/>
            </p:nvSpPr>
            <p:spPr bwMode="auto">
              <a:xfrm>
                <a:off x="5337173" y="2626972"/>
                <a:ext cx="1572528" cy="1549740"/>
              </a:xfrm>
              <a:custGeom>
                <a:avLst/>
                <a:gdLst>
                  <a:gd name="connsiteX0" fmla="*/ 761639 w 1572528"/>
                  <a:gd name="connsiteY0" fmla="*/ 978240 h 1549740"/>
                  <a:gd name="connsiteX1" fmla="*/ 762352 w 1572528"/>
                  <a:gd name="connsiteY1" fmla="*/ 978240 h 1549740"/>
                  <a:gd name="connsiteX2" fmla="*/ 769481 w 1572528"/>
                  <a:gd name="connsiteY2" fmla="*/ 981099 h 1549740"/>
                  <a:gd name="connsiteX3" fmla="*/ 772333 w 1572528"/>
                  <a:gd name="connsiteY3" fmla="*/ 987531 h 1549740"/>
                  <a:gd name="connsiteX4" fmla="*/ 772333 w 1572528"/>
                  <a:gd name="connsiteY4" fmla="*/ 990390 h 1549740"/>
                  <a:gd name="connsiteX5" fmla="*/ 773046 w 1572528"/>
                  <a:gd name="connsiteY5" fmla="*/ 991105 h 1549740"/>
                  <a:gd name="connsiteX6" fmla="*/ 772333 w 1572528"/>
                  <a:gd name="connsiteY6" fmla="*/ 992534 h 1549740"/>
                  <a:gd name="connsiteX7" fmla="*/ 754510 w 1572528"/>
                  <a:gd name="connsiteY7" fmla="*/ 1079014 h 1549740"/>
                  <a:gd name="connsiteX8" fmla="*/ 854320 w 1572528"/>
                  <a:gd name="connsiteY8" fmla="*/ 1178359 h 1549740"/>
                  <a:gd name="connsiteX9" fmla="*/ 954843 w 1572528"/>
                  <a:gd name="connsiteY9" fmla="*/ 1079014 h 1549740"/>
                  <a:gd name="connsiteX10" fmla="*/ 937020 w 1572528"/>
                  <a:gd name="connsiteY10" fmla="*/ 992534 h 1549740"/>
                  <a:gd name="connsiteX11" fmla="*/ 936307 w 1572528"/>
                  <a:gd name="connsiteY11" fmla="*/ 991105 h 1549740"/>
                  <a:gd name="connsiteX12" fmla="*/ 936307 w 1572528"/>
                  <a:gd name="connsiteY12" fmla="*/ 990390 h 1549740"/>
                  <a:gd name="connsiteX13" fmla="*/ 936307 w 1572528"/>
                  <a:gd name="connsiteY13" fmla="*/ 988961 h 1549740"/>
                  <a:gd name="connsiteX14" fmla="*/ 947001 w 1572528"/>
                  <a:gd name="connsiteY14" fmla="*/ 978955 h 1549740"/>
                  <a:gd name="connsiteX15" fmla="*/ 1052514 w 1572528"/>
                  <a:gd name="connsiteY15" fmla="*/ 986102 h 1549740"/>
                  <a:gd name="connsiteX16" fmla="*/ 1052514 w 1572528"/>
                  <a:gd name="connsiteY16" fmla="*/ 1472105 h 1549740"/>
                  <a:gd name="connsiteX17" fmla="*/ 1037543 w 1572528"/>
                  <a:gd name="connsiteY17" fmla="*/ 1487828 h 1549740"/>
                  <a:gd name="connsiteX18" fmla="*/ 578416 w 1572528"/>
                  <a:gd name="connsiteY18" fmla="*/ 1487828 h 1549740"/>
                  <a:gd name="connsiteX19" fmla="*/ 586259 w 1572528"/>
                  <a:gd name="connsiteY19" fmla="*/ 1375619 h 1549740"/>
                  <a:gd name="connsiteX20" fmla="*/ 548473 w 1572528"/>
                  <a:gd name="connsiteY20" fmla="*/ 1333451 h 1549740"/>
                  <a:gd name="connsiteX21" fmla="*/ 547760 w 1572528"/>
                  <a:gd name="connsiteY21" fmla="*/ 1333451 h 1549740"/>
                  <a:gd name="connsiteX22" fmla="*/ 533502 w 1572528"/>
                  <a:gd name="connsiteY22" fmla="*/ 1335595 h 1549740"/>
                  <a:gd name="connsiteX23" fmla="*/ 455792 w 1572528"/>
                  <a:gd name="connsiteY23" fmla="*/ 1351319 h 1549740"/>
                  <a:gd name="connsiteX24" fmla="*/ 387351 w 1572528"/>
                  <a:gd name="connsiteY24" fmla="*/ 1281992 h 1549740"/>
                  <a:gd name="connsiteX25" fmla="*/ 455792 w 1572528"/>
                  <a:gd name="connsiteY25" fmla="*/ 1212665 h 1549740"/>
                  <a:gd name="connsiteX26" fmla="*/ 532789 w 1572528"/>
                  <a:gd name="connsiteY26" fmla="*/ 1228389 h 1549740"/>
                  <a:gd name="connsiteX27" fmla="*/ 534928 w 1572528"/>
                  <a:gd name="connsiteY27" fmla="*/ 1229103 h 1549740"/>
                  <a:gd name="connsiteX28" fmla="*/ 547760 w 1572528"/>
                  <a:gd name="connsiteY28" fmla="*/ 1231247 h 1549740"/>
                  <a:gd name="connsiteX29" fmla="*/ 548473 w 1572528"/>
                  <a:gd name="connsiteY29" fmla="*/ 1231247 h 1549740"/>
                  <a:gd name="connsiteX30" fmla="*/ 586971 w 1572528"/>
                  <a:gd name="connsiteY30" fmla="*/ 1188365 h 1549740"/>
                  <a:gd name="connsiteX31" fmla="*/ 570574 w 1572528"/>
                  <a:gd name="connsiteY31" fmla="*/ 994678 h 1549740"/>
                  <a:gd name="connsiteX32" fmla="*/ 761639 w 1572528"/>
                  <a:gd name="connsiteY32" fmla="*/ 978240 h 1549740"/>
                  <a:gd name="connsiteX33" fmla="*/ 251519 w 1572528"/>
                  <a:gd name="connsiteY33" fmla="*/ 813140 h 1549740"/>
                  <a:gd name="connsiteX34" fmla="*/ 321313 w 1572528"/>
                  <a:gd name="connsiteY34" fmla="*/ 883822 h 1549740"/>
                  <a:gd name="connsiteX35" fmla="*/ 305645 w 1572528"/>
                  <a:gd name="connsiteY35" fmla="*/ 960215 h 1549740"/>
                  <a:gd name="connsiteX36" fmla="*/ 304933 w 1572528"/>
                  <a:gd name="connsiteY36" fmla="*/ 961643 h 1549740"/>
                  <a:gd name="connsiteX37" fmla="*/ 302796 w 1572528"/>
                  <a:gd name="connsiteY37" fmla="*/ 975922 h 1549740"/>
                  <a:gd name="connsiteX38" fmla="*/ 302796 w 1572528"/>
                  <a:gd name="connsiteY38" fmla="*/ 976636 h 1549740"/>
                  <a:gd name="connsiteX39" fmla="*/ 345528 w 1572528"/>
                  <a:gd name="connsiteY39" fmla="*/ 1014476 h 1549740"/>
                  <a:gd name="connsiteX40" fmla="*/ 539244 w 1572528"/>
                  <a:gd name="connsiteY40" fmla="*/ 998055 h 1549740"/>
                  <a:gd name="connsiteX41" fmla="*/ 555625 w 1572528"/>
                  <a:gd name="connsiteY41" fmla="*/ 1189395 h 1549740"/>
                  <a:gd name="connsiteX42" fmla="*/ 545654 w 1572528"/>
                  <a:gd name="connsiteY42" fmla="*/ 1200104 h 1549740"/>
                  <a:gd name="connsiteX43" fmla="*/ 541381 w 1572528"/>
                  <a:gd name="connsiteY43" fmla="*/ 1199390 h 1549740"/>
                  <a:gd name="connsiteX44" fmla="*/ 455206 w 1572528"/>
                  <a:gd name="connsiteY44" fmla="*/ 1181541 h 1549740"/>
                  <a:gd name="connsiteX45" fmla="*/ 355499 w 1572528"/>
                  <a:gd name="connsiteY45" fmla="*/ 1281495 h 1549740"/>
                  <a:gd name="connsiteX46" fmla="*/ 455206 w 1572528"/>
                  <a:gd name="connsiteY46" fmla="*/ 1381449 h 1549740"/>
                  <a:gd name="connsiteX47" fmla="*/ 541381 w 1572528"/>
                  <a:gd name="connsiteY47" fmla="*/ 1364314 h 1549740"/>
                  <a:gd name="connsiteX48" fmla="*/ 545654 w 1572528"/>
                  <a:gd name="connsiteY48" fmla="*/ 1363600 h 1549740"/>
                  <a:gd name="connsiteX49" fmla="*/ 554913 w 1572528"/>
                  <a:gd name="connsiteY49" fmla="*/ 1374309 h 1549740"/>
                  <a:gd name="connsiteX50" fmla="*/ 547078 w 1572528"/>
                  <a:gd name="connsiteY50" fmla="*/ 1487828 h 1549740"/>
                  <a:gd name="connsiteX51" fmla="*/ 78456 w 1572528"/>
                  <a:gd name="connsiteY51" fmla="*/ 1487828 h 1549740"/>
                  <a:gd name="connsiteX52" fmla="*/ 63500 w 1572528"/>
                  <a:gd name="connsiteY52" fmla="*/ 1472121 h 1549740"/>
                  <a:gd name="connsiteX53" fmla="*/ 63500 w 1572528"/>
                  <a:gd name="connsiteY53" fmla="*/ 1008050 h 1549740"/>
                  <a:gd name="connsiteX54" fmla="*/ 157509 w 1572528"/>
                  <a:gd name="connsiteY54" fmla="*/ 1013762 h 1549740"/>
                  <a:gd name="connsiteX55" fmla="*/ 199529 w 1572528"/>
                  <a:gd name="connsiteY55" fmla="*/ 975922 h 1549740"/>
                  <a:gd name="connsiteX56" fmla="*/ 200241 w 1572528"/>
                  <a:gd name="connsiteY56" fmla="*/ 974494 h 1549740"/>
                  <a:gd name="connsiteX57" fmla="*/ 198816 w 1572528"/>
                  <a:gd name="connsiteY57" fmla="*/ 961643 h 1549740"/>
                  <a:gd name="connsiteX58" fmla="*/ 198104 w 1572528"/>
                  <a:gd name="connsiteY58" fmla="*/ 960215 h 1549740"/>
                  <a:gd name="connsiteX59" fmla="*/ 182436 w 1572528"/>
                  <a:gd name="connsiteY59" fmla="*/ 883822 h 1549740"/>
                  <a:gd name="connsiteX60" fmla="*/ 251519 w 1572528"/>
                  <a:gd name="connsiteY60" fmla="*/ 813140 h 1549740"/>
                  <a:gd name="connsiteX61" fmla="*/ 78467 w 1572528"/>
                  <a:gd name="connsiteY61" fmla="*/ 498815 h 1549740"/>
                  <a:gd name="connsiteX62" fmla="*/ 524586 w 1572528"/>
                  <a:gd name="connsiteY62" fmla="*/ 498815 h 1549740"/>
                  <a:gd name="connsiteX63" fmla="*/ 519597 w 1572528"/>
                  <a:gd name="connsiteY63" fmla="*/ 585841 h 1549740"/>
                  <a:gd name="connsiteX64" fmla="*/ 555942 w 1572528"/>
                  <a:gd name="connsiteY64" fmla="*/ 627927 h 1549740"/>
                  <a:gd name="connsiteX65" fmla="*/ 571621 w 1572528"/>
                  <a:gd name="connsiteY65" fmla="*/ 627214 h 1549740"/>
                  <a:gd name="connsiteX66" fmla="*/ 573046 w 1572528"/>
                  <a:gd name="connsiteY66" fmla="*/ 626500 h 1549740"/>
                  <a:gd name="connsiteX67" fmla="*/ 649300 w 1572528"/>
                  <a:gd name="connsiteY67" fmla="*/ 610094 h 1549740"/>
                  <a:gd name="connsiteX68" fmla="*/ 719139 w 1572528"/>
                  <a:gd name="connsiteY68" fmla="*/ 680000 h 1549740"/>
                  <a:gd name="connsiteX69" fmla="*/ 649300 w 1572528"/>
                  <a:gd name="connsiteY69" fmla="*/ 749906 h 1549740"/>
                  <a:gd name="connsiteX70" fmla="*/ 573046 w 1572528"/>
                  <a:gd name="connsiteY70" fmla="*/ 734213 h 1549740"/>
                  <a:gd name="connsiteX71" fmla="*/ 571621 w 1572528"/>
                  <a:gd name="connsiteY71" fmla="*/ 733499 h 1549740"/>
                  <a:gd name="connsiteX72" fmla="*/ 555942 w 1572528"/>
                  <a:gd name="connsiteY72" fmla="*/ 732073 h 1549740"/>
                  <a:gd name="connsiteX73" fmla="*/ 529574 w 1572528"/>
                  <a:gd name="connsiteY73" fmla="*/ 744199 h 1549740"/>
                  <a:gd name="connsiteX74" fmla="*/ 518885 w 1572528"/>
                  <a:gd name="connsiteY74" fmla="*/ 774159 h 1549740"/>
                  <a:gd name="connsiteX75" fmla="*/ 535276 w 1572528"/>
                  <a:gd name="connsiteY75" fmla="*/ 968184 h 1549740"/>
                  <a:gd name="connsiteX76" fmla="*/ 344285 w 1572528"/>
                  <a:gd name="connsiteY76" fmla="*/ 984590 h 1549740"/>
                  <a:gd name="connsiteX77" fmla="*/ 333596 w 1572528"/>
                  <a:gd name="connsiteY77" fmla="*/ 975317 h 1549740"/>
                  <a:gd name="connsiteX78" fmla="*/ 334308 w 1572528"/>
                  <a:gd name="connsiteY78" fmla="*/ 969610 h 1549740"/>
                  <a:gd name="connsiteX79" fmla="*/ 352124 w 1572528"/>
                  <a:gd name="connsiteY79" fmla="*/ 884011 h 1549740"/>
                  <a:gd name="connsiteX80" fmla="*/ 251641 w 1572528"/>
                  <a:gd name="connsiteY80" fmla="*/ 784146 h 1549740"/>
                  <a:gd name="connsiteX81" fmla="*/ 151870 w 1572528"/>
                  <a:gd name="connsiteY81" fmla="*/ 884011 h 1549740"/>
                  <a:gd name="connsiteX82" fmla="*/ 169686 w 1572528"/>
                  <a:gd name="connsiteY82" fmla="*/ 969610 h 1549740"/>
                  <a:gd name="connsiteX83" fmla="*/ 169686 w 1572528"/>
                  <a:gd name="connsiteY83" fmla="*/ 973890 h 1549740"/>
                  <a:gd name="connsiteX84" fmla="*/ 158996 w 1572528"/>
                  <a:gd name="connsiteY84" fmla="*/ 983163 h 1549740"/>
                  <a:gd name="connsiteX85" fmla="*/ 63501 w 1572528"/>
                  <a:gd name="connsiteY85" fmla="*/ 977457 h 1549740"/>
                  <a:gd name="connsiteX86" fmla="*/ 63501 w 1572528"/>
                  <a:gd name="connsiteY86" fmla="*/ 514508 h 1549740"/>
                  <a:gd name="connsiteX87" fmla="*/ 78467 w 1572528"/>
                  <a:gd name="connsiteY87" fmla="*/ 498815 h 1549740"/>
                  <a:gd name="connsiteX88" fmla="*/ 31750 w 1572528"/>
                  <a:gd name="connsiteY88" fmla="*/ 467065 h 1549740"/>
                  <a:gd name="connsiteX89" fmla="*/ 31750 w 1572528"/>
                  <a:gd name="connsiteY89" fmla="*/ 1517990 h 1549740"/>
                  <a:gd name="connsiteX90" fmla="*/ 1084263 w 1572528"/>
                  <a:gd name="connsiteY90" fmla="*/ 1517990 h 1549740"/>
                  <a:gd name="connsiteX91" fmla="*/ 1084263 w 1572528"/>
                  <a:gd name="connsiteY91" fmla="*/ 958638 h 1549740"/>
                  <a:gd name="connsiteX92" fmla="*/ 949216 w 1572528"/>
                  <a:gd name="connsiteY92" fmla="*/ 950077 h 1549740"/>
                  <a:gd name="connsiteX93" fmla="*/ 905629 w 1572528"/>
                  <a:gd name="connsiteY93" fmla="*/ 986463 h 1549740"/>
                  <a:gd name="connsiteX94" fmla="*/ 907773 w 1572528"/>
                  <a:gd name="connsiteY94" fmla="*/ 1002873 h 1549740"/>
                  <a:gd name="connsiteX95" fmla="*/ 923492 w 1572528"/>
                  <a:gd name="connsiteY95" fmla="*/ 1080640 h 1549740"/>
                  <a:gd name="connsiteX96" fmla="*/ 854182 w 1572528"/>
                  <a:gd name="connsiteY96" fmla="*/ 1149845 h 1549740"/>
                  <a:gd name="connsiteX97" fmla="*/ 784158 w 1572528"/>
                  <a:gd name="connsiteY97" fmla="*/ 1080640 h 1549740"/>
                  <a:gd name="connsiteX98" fmla="*/ 799877 w 1572528"/>
                  <a:gd name="connsiteY98" fmla="*/ 1002873 h 1549740"/>
                  <a:gd name="connsiteX99" fmla="*/ 800592 w 1572528"/>
                  <a:gd name="connsiteY99" fmla="*/ 1001446 h 1549740"/>
                  <a:gd name="connsiteX100" fmla="*/ 802021 w 1572528"/>
                  <a:gd name="connsiteY100" fmla="*/ 986463 h 1549740"/>
                  <a:gd name="connsiteX101" fmla="*/ 789159 w 1572528"/>
                  <a:gd name="connsiteY101" fmla="*/ 960065 h 1549740"/>
                  <a:gd name="connsiteX102" fmla="*/ 759863 w 1572528"/>
                  <a:gd name="connsiteY102" fmla="*/ 949363 h 1549740"/>
                  <a:gd name="connsiteX103" fmla="*/ 564795 w 1572528"/>
                  <a:gd name="connsiteY103" fmla="*/ 965773 h 1549740"/>
                  <a:gd name="connsiteX104" fmla="*/ 549075 w 1572528"/>
                  <a:gd name="connsiteY104" fmla="*/ 773139 h 1549740"/>
                  <a:gd name="connsiteX105" fmla="*/ 548360 w 1572528"/>
                  <a:gd name="connsiteY105" fmla="*/ 773139 h 1549740"/>
                  <a:gd name="connsiteX106" fmla="*/ 551219 w 1572528"/>
                  <a:gd name="connsiteY106" fmla="*/ 766004 h 1549740"/>
                  <a:gd name="connsiteX107" fmla="*/ 557649 w 1572528"/>
                  <a:gd name="connsiteY107" fmla="*/ 762437 h 1549740"/>
                  <a:gd name="connsiteX108" fmla="*/ 559079 w 1572528"/>
                  <a:gd name="connsiteY108" fmla="*/ 762437 h 1549740"/>
                  <a:gd name="connsiteX109" fmla="*/ 560508 w 1572528"/>
                  <a:gd name="connsiteY109" fmla="*/ 762437 h 1549740"/>
                  <a:gd name="connsiteX110" fmla="*/ 563366 w 1572528"/>
                  <a:gd name="connsiteY110" fmla="*/ 763151 h 1549740"/>
                  <a:gd name="connsiteX111" fmla="*/ 649110 w 1572528"/>
                  <a:gd name="connsiteY111" fmla="*/ 780274 h 1549740"/>
                  <a:gd name="connsiteX112" fmla="*/ 749860 w 1572528"/>
                  <a:gd name="connsiteY112" fmla="*/ 680389 h 1549740"/>
                  <a:gd name="connsiteX113" fmla="*/ 649110 w 1572528"/>
                  <a:gd name="connsiteY113" fmla="*/ 579792 h 1549740"/>
                  <a:gd name="connsiteX114" fmla="*/ 563366 w 1572528"/>
                  <a:gd name="connsiteY114" fmla="*/ 598342 h 1549740"/>
                  <a:gd name="connsiteX115" fmla="*/ 561222 w 1572528"/>
                  <a:gd name="connsiteY115" fmla="*/ 598342 h 1549740"/>
                  <a:gd name="connsiteX116" fmla="*/ 559079 w 1572528"/>
                  <a:gd name="connsiteY116" fmla="*/ 598342 h 1549740"/>
                  <a:gd name="connsiteX117" fmla="*/ 549790 w 1572528"/>
                  <a:gd name="connsiteY117" fmla="*/ 587640 h 1549740"/>
                  <a:gd name="connsiteX118" fmla="*/ 549790 w 1572528"/>
                  <a:gd name="connsiteY118" fmla="*/ 586926 h 1549740"/>
                  <a:gd name="connsiteX119" fmla="*/ 556935 w 1572528"/>
                  <a:gd name="connsiteY119" fmla="*/ 467065 h 1549740"/>
                  <a:gd name="connsiteX120" fmla="*/ 31750 w 1572528"/>
                  <a:gd name="connsiteY120" fmla="*/ 467065 h 1549740"/>
                  <a:gd name="connsiteX121" fmla="*/ 20704 w 1572528"/>
                  <a:gd name="connsiteY121" fmla="*/ 435315 h 1549740"/>
                  <a:gd name="connsiteX122" fmla="*/ 558998 w 1572528"/>
                  <a:gd name="connsiteY122" fmla="*/ 435315 h 1549740"/>
                  <a:gd name="connsiteX123" fmla="*/ 591124 w 1572528"/>
                  <a:gd name="connsiteY123" fmla="*/ 435315 h 1549740"/>
                  <a:gd name="connsiteX124" fmla="*/ 588268 w 1572528"/>
                  <a:gd name="connsiteY124" fmla="*/ 466727 h 1549740"/>
                  <a:gd name="connsiteX125" fmla="*/ 583271 w 1572528"/>
                  <a:gd name="connsiteY125" fmla="*/ 529552 h 1549740"/>
                  <a:gd name="connsiteX126" fmla="*/ 582557 w 1572528"/>
                  <a:gd name="connsiteY126" fmla="*/ 529552 h 1549740"/>
                  <a:gd name="connsiteX127" fmla="*/ 581843 w 1572528"/>
                  <a:gd name="connsiteY127" fmla="*/ 546686 h 1549740"/>
                  <a:gd name="connsiteX128" fmla="*/ 581843 w 1572528"/>
                  <a:gd name="connsiteY128" fmla="*/ 547400 h 1549740"/>
                  <a:gd name="connsiteX129" fmla="*/ 581129 w 1572528"/>
                  <a:gd name="connsiteY129" fmla="*/ 558823 h 1549740"/>
                  <a:gd name="connsiteX130" fmla="*/ 648237 w 1572528"/>
                  <a:gd name="connsiteY130" fmla="*/ 548114 h 1549740"/>
                  <a:gd name="connsiteX131" fmla="*/ 780312 w 1572528"/>
                  <a:gd name="connsiteY131" fmla="*/ 680189 h 1549740"/>
                  <a:gd name="connsiteX132" fmla="*/ 648237 w 1572528"/>
                  <a:gd name="connsiteY132" fmla="*/ 811550 h 1549740"/>
                  <a:gd name="connsiteX133" fmla="*/ 580415 w 1572528"/>
                  <a:gd name="connsiteY133" fmla="*/ 801555 h 1549740"/>
                  <a:gd name="connsiteX134" fmla="*/ 591124 w 1572528"/>
                  <a:gd name="connsiteY134" fmla="*/ 930774 h 1549740"/>
                  <a:gd name="connsiteX135" fmla="*/ 757467 w 1572528"/>
                  <a:gd name="connsiteY135" fmla="*/ 917923 h 1549740"/>
                  <a:gd name="connsiteX136" fmla="*/ 761036 w 1572528"/>
                  <a:gd name="connsiteY136" fmla="*/ 917923 h 1549740"/>
                  <a:gd name="connsiteX137" fmla="*/ 809583 w 1572528"/>
                  <a:gd name="connsiteY137" fmla="*/ 937199 h 1549740"/>
                  <a:gd name="connsiteX138" fmla="*/ 832428 w 1572528"/>
                  <a:gd name="connsiteY138" fmla="*/ 983604 h 1549740"/>
                  <a:gd name="connsiteX139" fmla="*/ 830286 w 1572528"/>
                  <a:gd name="connsiteY139" fmla="*/ 1007163 h 1549740"/>
                  <a:gd name="connsiteX140" fmla="*/ 829572 w 1572528"/>
                  <a:gd name="connsiteY140" fmla="*/ 1012160 h 1549740"/>
                  <a:gd name="connsiteX141" fmla="*/ 828144 w 1572528"/>
                  <a:gd name="connsiteY141" fmla="*/ 1015016 h 1549740"/>
                  <a:gd name="connsiteX142" fmla="*/ 814580 w 1572528"/>
                  <a:gd name="connsiteY142" fmla="*/ 1080696 h 1549740"/>
                  <a:gd name="connsiteX143" fmla="*/ 853131 w 1572528"/>
                  <a:gd name="connsiteY143" fmla="*/ 1118534 h 1549740"/>
                  <a:gd name="connsiteX144" fmla="*/ 890969 w 1572528"/>
                  <a:gd name="connsiteY144" fmla="*/ 1080696 h 1549740"/>
                  <a:gd name="connsiteX145" fmla="*/ 877405 w 1572528"/>
                  <a:gd name="connsiteY145" fmla="*/ 1013588 h 1549740"/>
                  <a:gd name="connsiteX146" fmla="*/ 877405 w 1572528"/>
                  <a:gd name="connsiteY146" fmla="*/ 1012874 h 1549740"/>
                  <a:gd name="connsiteX147" fmla="*/ 873835 w 1572528"/>
                  <a:gd name="connsiteY147" fmla="*/ 982176 h 1549740"/>
                  <a:gd name="connsiteX148" fmla="*/ 945227 w 1572528"/>
                  <a:gd name="connsiteY148" fmla="*/ 918637 h 1549740"/>
                  <a:gd name="connsiteX149" fmla="*/ 949510 w 1572528"/>
                  <a:gd name="connsiteY149" fmla="*/ 918637 h 1549740"/>
                  <a:gd name="connsiteX150" fmla="*/ 1020188 w 1572528"/>
                  <a:gd name="connsiteY150" fmla="*/ 922207 h 1549740"/>
                  <a:gd name="connsiteX151" fmla="*/ 1083013 w 1572528"/>
                  <a:gd name="connsiteY151" fmla="*/ 926490 h 1549740"/>
                  <a:gd name="connsiteX152" fmla="*/ 1114425 w 1572528"/>
                  <a:gd name="connsiteY152" fmla="*/ 928632 h 1549740"/>
                  <a:gd name="connsiteX153" fmla="*/ 1114425 w 1572528"/>
                  <a:gd name="connsiteY153" fmla="*/ 960758 h 1549740"/>
                  <a:gd name="connsiteX154" fmla="*/ 1114425 w 1572528"/>
                  <a:gd name="connsiteY154" fmla="*/ 1529037 h 1549740"/>
                  <a:gd name="connsiteX155" fmla="*/ 1093722 w 1572528"/>
                  <a:gd name="connsiteY155" fmla="*/ 1549740 h 1549740"/>
                  <a:gd name="connsiteX156" fmla="*/ 20704 w 1572528"/>
                  <a:gd name="connsiteY156" fmla="*/ 1549740 h 1549740"/>
                  <a:gd name="connsiteX157" fmla="*/ 0 w 1572528"/>
                  <a:gd name="connsiteY157" fmla="*/ 1529037 h 1549740"/>
                  <a:gd name="connsiteX158" fmla="*/ 0 w 1572528"/>
                  <a:gd name="connsiteY158" fmla="*/ 456733 h 1549740"/>
                  <a:gd name="connsiteX159" fmla="*/ 20704 w 1572528"/>
                  <a:gd name="connsiteY159" fmla="*/ 435315 h 1549740"/>
                  <a:gd name="connsiteX160" fmla="*/ 1117210 w 1572528"/>
                  <a:gd name="connsiteY160" fmla="*/ 78127 h 1549740"/>
                  <a:gd name="connsiteX161" fmla="*/ 1481067 w 1572528"/>
                  <a:gd name="connsiteY161" fmla="*/ 394922 h 1549740"/>
                  <a:gd name="connsiteX162" fmla="*/ 1482494 w 1572528"/>
                  <a:gd name="connsiteY162" fmla="*/ 416327 h 1549740"/>
                  <a:gd name="connsiteX163" fmla="*/ 1191408 w 1572528"/>
                  <a:gd name="connsiteY163" fmla="*/ 750246 h 1549740"/>
                  <a:gd name="connsiteX164" fmla="*/ 1117924 w 1572528"/>
                  <a:gd name="connsiteY164" fmla="*/ 677468 h 1549740"/>
                  <a:gd name="connsiteX165" fmla="*/ 1060848 w 1572528"/>
                  <a:gd name="connsiteY165" fmla="*/ 676755 h 1549740"/>
                  <a:gd name="connsiteX166" fmla="*/ 1051573 w 1572528"/>
                  <a:gd name="connsiteY166" fmla="*/ 690311 h 1549740"/>
                  <a:gd name="connsiteX167" fmla="*/ 1012334 w 1572528"/>
                  <a:gd name="connsiteY167" fmla="*/ 759521 h 1549740"/>
                  <a:gd name="connsiteX168" fmla="*/ 914592 w 1572528"/>
                  <a:gd name="connsiteY168" fmla="*/ 765943 h 1549740"/>
                  <a:gd name="connsiteX169" fmla="*/ 907457 w 1572528"/>
                  <a:gd name="connsiteY169" fmla="*/ 668193 h 1549740"/>
                  <a:gd name="connsiteX170" fmla="*/ 970241 w 1572528"/>
                  <a:gd name="connsiteY170" fmla="*/ 619675 h 1549740"/>
                  <a:gd name="connsiteX171" fmla="*/ 971667 w 1572528"/>
                  <a:gd name="connsiteY171" fmla="*/ 618961 h 1549740"/>
                  <a:gd name="connsiteX172" fmla="*/ 983083 w 1572528"/>
                  <a:gd name="connsiteY172" fmla="*/ 608972 h 1549740"/>
                  <a:gd name="connsiteX173" fmla="*/ 990217 w 1572528"/>
                  <a:gd name="connsiteY173" fmla="*/ 580432 h 1549740"/>
                  <a:gd name="connsiteX174" fmla="*/ 975235 w 1572528"/>
                  <a:gd name="connsiteY174" fmla="*/ 553319 h 1549740"/>
                  <a:gd name="connsiteX175" fmla="*/ 817563 w 1572528"/>
                  <a:gd name="connsiteY175" fmla="*/ 437732 h 1549740"/>
                  <a:gd name="connsiteX176" fmla="*/ 932428 w 1572528"/>
                  <a:gd name="connsiteY176" fmla="*/ 281475 h 1549740"/>
                  <a:gd name="connsiteX177" fmla="*/ 938849 w 1572528"/>
                  <a:gd name="connsiteY177" fmla="*/ 277908 h 1549740"/>
                  <a:gd name="connsiteX178" fmla="*/ 945983 w 1572528"/>
                  <a:gd name="connsiteY178" fmla="*/ 279335 h 1549740"/>
                  <a:gd name="connsiteX179" fmla="*/ 946697 w 1572528"/>
                  <a:gd name="connsiteY179" fmla="*/ 280048 h 1549740"/>
                  <a:gd name="connsiteX180" fmla="*/ 948124 w 1572528"/>
                  <a:gd name="connsiteY180" fmla="*/ 280762 h 1549740"/>
                  <a:gd name="connsiteX181" fmla="*/ 949551 w 1572528"/>
                  <a:gd name="connsiteY181" fmla="*/ 283616 h 1549740"/>
                  <a:gd name="connsiteX182" fmla="*/ 1003059 w 1572528"/>
                  <a:gd name="connsiteY182" fmla="*/ 352825 h 1549740"/>
                  <a:gd name="connsiteX183" fmla="*/ 1144321 w 1572528"/>
                  <a:gd name="connsiteY183" fmla="*/ 343550 h 1549740"/>
                  <a:gd name="connsiteX184" fmla="*/ 1135046 w 1572528"/>
                  <a:gd name="connsiteY184" fmla="*/ 201563 h 1549740"/>
                  <a:gd name="connsiteX185" fmla="*/ 1058708 w 1572528"/>
                  <a:gd name="connsiteY185" fmla="*/ 158753 h 1549740"/>
                  <a:gd name="connsiteX186" fmla="*/ 1056567 w 1572528"/>
                  <a:gd name="connsiteY186" fmla="*/ 157326 h 1549740"/>
                  <a:gd name="connsiteX187" fmla="*/ 1055140 w 1572528"/>
                  <a:gd name="connsiteY187" fmla="*/ 155899 h 1549740"/>
                  <a:gd name="connsiteX188" fmla="*/ 1054427 w 1572528"/>
                  <a:gd name="connsiteY188" fmla="*/ 142342 h 1549740"/>
                  <a:gd name="connsiteX189" fmla="*/ 1055140 w 1572528"/>
                  <a:gd name="connsiteY189" fmla="*/ 141629 h 1549740"/>
                  <a:gd name="connsiteX190" fmla="*/ 1117210 w 1572528"/>
                  <a:gd name="connsiteY190" fmla="*/ 78127 h 1549740"/>
                  <a:gd name="connsiteX191" fmla="*/ 1115264 w 1572528"/>
                  <a:gd name="connsiteY191" fmla="*/ 36852 h 1549740"/>
                  <a:gd name="connsiteX192" fmla="*/ 1094549 w 1572528"/>
                  <a:gd name="connsiteY192" fmla="*/ 56808 h 1549740"/>
                  <a:gd name="connsiteX193" fmla="*/ 1030976 w 1572528"/>
                  <a:gd name="connsiteY193" fmla="*/ 121667 h 1549740"/>
                  <a:gd name="connsiteX194" fmla="*/ 1019547 w 1572528"/>
                  <a:gd name="connsiteY194" fmla="*/ 150176 h 1549740"/>
                  <a:gd name="connsiteX195" fmla="*/ 1033833 w 1572528"/>
                  <a:gd name="connsiteY195" fmla="*/ 180823 h 1549740"/>
                  <a:gd name="connsiteX196" fmla="*/ 1040976 w 1572528"/>
                  <a:gd name="connsiteY196" fmla="*/ 186525 h 1549740"/>
                  <a:gd name="connsiteX197" fmla="*/ 1045976 w 1572528"/>
                  <a:gd name="connsiteY197" fmla="*/ 189376 h 1549740"/>
                  <a:gd name="connsiteX198" fmla="*/ 1113835 w 1572528"/>
                  <a:gd name="connsiteY198" fmla="*/ 226437 h 1549740"/>
                  <a:gd name="connsiteX199" fmla="*/ 1120264 w 1572528"/>
                  <a:gd name="connsiteY199" fmla="*/ 323368 h 1549740"/>
                  <a:gd name="connsiteX200" fmla="*/ 1023119 w 1572528"/>
                  <a:gd name="connsiteY200" fmla="*/ 329783 h 1549740"/>
                  <a:gd name="connsiteX201" fmla="*/ 976689 w 1572528"/>
                  <a:gd name="connsiteY201" fmla="*/ 269914 h 1549740"/>
                  <a:gd name="connsiteX202" fmla="*/ 968117 w 1572528"/>
                  <a:gd name="connsiteY202" fmla="*/ 258510 h 1549740"/>
                  <a:gd name="connsiteX203" fmla="*/ 965975 w 1572528"/>
                  <a:gd name="connsiteY203" fmla="*/ 256372 h 1549740"/>
                  <a:gd name="connsiteX204" fmla="*/ 935974 w 1572528"/>
                  <a:gd name="connsiteY204" fmla="*/ 247106 h 1549740"/>
                  <a:gd name="connsiteX205" fmla="*/ 908116 w 1572528"/>
                  <a:gd name="connsiteY205" fmla="*/ 262074 h 1549740"/>
                  <a:gd name="connsiteX206" fmla="*/ 930974 w 1572528"/>
                  <a:gd name="connsiteY206" fmla="*/ 282030 h 1549740"/>
                  <a:gd name="connsiteX207" fmla="*/ 906688 w 1572528"/>
                  <a:gd name="connsiteY207" fmla="*/ 262786 h 1549740"/>
                  <a:gd name="connsiteX208" fmla="*/ 790256 w 1572528"/>
                  <a:gd name="connsiteY208" fmla="*/ 420299 h 1549740"/>
                  <a:gd name="connsiteX209" fmla="*/ 773113 w 1572528"/>
                  <a:gd name="connsiteY209" fmla="*/ 446670 h 1549740"/>
                  <a:gd name="connsiteX210" fmla="*/ 799542 w 1572528"/>
                  <a:gd name="connsiteY210" fmla="*/ 464488 h 1549740"/>
                  <a:gd name="connsiteX211" fmla="*/ 955260 w 1572528"/>
                  <a:gd name="connsiteY211" fmla="*/ 577099 h 1549740"/>
                  <a:gd name="connsiteX212" fmla="*/ 955974 w 1572528"/>
                  <a:gd name="connsiteY212" fmla="*/ 577811 h 1549740"/>
                  <a:gd name="connsiteX213" fmla="*/ 955974 w 1572528"/>
                  <a:gd name="connsiteY213" fmla="*/ 578524 h 1549740"/>
                  <a:gd name="connsiteX214" fmla="*/ 956689 w 1572528"/>
                  <a:gd name="connsiteY214" fmla="*/ 578524 h 1549740"/>
                  <a:gd name="connsiteX215" fmla="*/ 958832 w 1572528"/>
                  <a:gd name="connsiteY215" fmla="*/ 582800 h 1549740"/>
                  <a:gd name="connsiteX216" fmla="*/ 958832 w 1572528"/>
                  <a:gd name="connsiteY216" fmla="*/ 583513 h 1549740"/>
                  <a:gd name="connsiteX217" fmla="*/ 958832 w 1572528"/>
                  <a:gd name="connsiteY217" fmla="*/ 584226 h 1549740"/>
                  <a:gd name="connsiteX218" fmla="*/ 957403 w 1572528"/>
                  <a:gd name="connsiteY218" fmla="*/ 589928 h 1549740"/>
                  <a:gd name="connsiteX219" fmla="*/ 956689 w 1572528"/>
                  <a:gd name="connsiteY219" fmla="*/ 590640 h 1549740"/>
                  <a:gd name="connsiteX220" fmla="*/ 955974 w 1572528"/>
                  <a:gd name="connsiteY220" fmla="*/ 592066 h 1549740"/>
                  <a:gd name="connsiteX221" fmla="*/ 953831 w 1572528"/>
                  <a:gd name="connsiteY221" fmla="*/ 592779 h 1549740"/>
                  <a:gd name="connsiteX222" fmla="*/ 883830 w 1572528"/>
                  <a:gd name="connsiteY222" fmla="*/ 647659 h 1549740"/>
                  <a:gd name="connsiteX223" fmla="*/ 894544 w 1572528"/>
                  <a:gd name="connsiteY223" fmla="*/ 789491 h 1549740"/>
                  <a:gd name="connsiteX224" fmla="*/ 1035976 w 1572528"/>
                  <a:gd name="connsiteY224" fmla="*/ 780226 h 1549740"/>
                  <a:gd name="connsiteX225" fmla="*/ 1080977 w 1572528"/>
                  <a:gd name="connsiteY225" fmla="*/ 702539 h 1549740"/>
                  <a:gd name="connsiteX226" fmla="*/ 1081691 w 1572528"/>
                  <a:gd name="connsiteY226" fmla="*/ 700400 h 1549740"/>
                  <a:gd name="connsiteX227" fmla="*/ 1082406 w 1572528"/>
                  <a:gd name="connsiteY227" fmla="*/ 699688 h 1549740"/>
                  <a:gd name="connsiteX228" fmla="*/ 1094549 w 1572528"/>
                  <a:gd name="connsiteY228" fmla="*/ 699688 h 1549740"/>
                  <a:gd name="connsiteX229" fmla="*/ 1095977 w 1572528"/>
                  <a:gd name="connsiteY229" fmla="*/ 700400 h 1549740"/>
                  <a:gd name="connsiteX230" fmla="*/ 1168836 w 1572528"/>
                  <a:gd name="connsiteY230" fmla="*/ 772386 h 1549740"/>
                  <a:gd name="connsiteX231" fmla="*/ 1193122 w 1572528"/>
                  <a:gd name="connsiteY231" fmla="*/ 797331 h 1549740"/>
                  <a:gd name="connsiteX232" fmla="*/ 1505986 w 1572528"/>
                  <a:gd name="connsiteY232" fmla="*/ 438117 h 1549740"/>
                  <a:gd name="connsiteX233" fmla="*/ 1536701 w 1572528"/>
                  <a:gd name="connsiteY233" fmla="*/ 403193 h 1549740"/>
                  <a:gd name="connsiteX234" fmla="*/ 1501700 w 1572528"/>
                  <a:gd name="connsiteY234" fmla="*/ 372546 h 1549740"/>
                  <a:gd name="connsiteX235" fmla="*/ 1115264 w 1572528"/>
                  <a:gd name="connsiteY235" fmla="*/ 36852 h 1549740"/>
                  <a:gd name="connsiteX236" fmla="*/ 1104337 w 1572528"/>
                  <a:gd name="connsiteY236" fmla="*/ 3743 h 1549740"/>
                  <a:gd name="connsiteX237" fmla="*/ 1125754 w 1572528"/>
                  <a:gd name="connsiteY237" fmla="*/ 3743 h 1549740"/>
                  <a:gd name="connsiteX238" fmla="*/ 1522685 w 1572528"/>
                  <a:gd name="connsiteY238" fmla="*/ 348834 h 1549740"/>
                  <a:gd name="connsiteX239" fmla="*/ 1565519 w 1572528"/>
                  <a:gd name="connsiteY239" fmla="*/ 385909 h 1549740"/>
                  <a:gd name="connsiteX240" fmla="*/ 1567661 w 1572528"/>
                  <a:gd name="connsiteY240" fmla="*/ 415142 h 1549740"/>
                  <a:gd name="connsiteX241" fmla="*/ 1529824 w 1572528"/>
                  <a:gd name="connsiteY241" fmla="*/ 458635 h 1549740"/>
                  <a:gd name="connsiteX242" fmla="*/ 1194289 w 1572528"/>
                  <a:gd name="connsiteY242" fmla="*/ 844366 h 1549740"/>
                  <a:gd name="connsiteX243" fmla="*/ 1172872 w 1572528"/>
                  <a:gd name="connsiteY243" fmla="*/ 820837 h 1549740"/>
                  <a:gd name="connsiteX244" fmla="*/ 1146457 w 1572528"/>
                  <a:gd name="connsiteY244" fmla="*/ 794456 h 1549740"/>
                  <a:gd name="connsiteX245" fmla="*/ 1097198 w 1572528"/>
                  <a:gd name="connsiteY245" fmla="*/ 744547 h 1549740"/>
                  <a:gd name="connsiteX246" fmla="*/ 1060788 w 1572528"/>
                  <a:gd name="connsiteY246" fmla="*/ 800873 h 1549740"/>
                  <a:gd name="connsiteX247" fmla="*/ 874459 w 1572528"/>
                  <a:gd name="connsiteY247" fmla="*/ 812994 h 1549740"/>
                  <a:gd name="connsiteX248" fmla="*/ 860181 w 1572528"/>
                  <a:gd name="connsiteY248" fmla="*/ 626902 h 1549740"/>
                  <a:gd name="connsiteX249" fmla="*/ 912296 w 1572528"/>
                  <a:gd name="connsiteY249" fmla="*/ 582696 h 1549740"/>
                  <a:gd name="connsiteX250" fmla="*/ 783793 w 1572528"/>
                  <a:gd name="connsiteY250" fmla="*/ 490007 h 1549740"/>
                  <a:gd name="connsiteX251" fmla="*/ 778082 w 1572528"/>
                  <a:gd name="connsiteY251" fmla="*/ 486442 h 1549740"/>
                  <a:gd name="connsiteX252" fmla="*/ 730250 w 1572528"/>
                  <a:gd name="connsiteY252" fmla="*/ 455070 h 1549740"/>
                  <a:gd name="connsiteX253" fmla="*/ 736675 w 1572528"/>
                  <a:gd name="connsiteY253" fmla="*/ 445801 h 1549740"/>
                  <a:gd name="connsiteX254" fmla="*/ 765946 w 1572528"/>
                  <a:gd name="connsiteY254" fmla="*/ 403021 h 1549740"/>
                  <a:gd name="connsiteX255" fmla="*/ 864464 w 1572528"/>
                  <a:gd name="connsiteY255" fmla="*/ 265413 h 1549740"/>
                  <a:gd name="connsiteX256" fmla="*/ 908013 w 1572528"/>
                  <a:gd name="connsiteY256" fmla="*/ 222633 h 1549740"/>
                  <a:gd name="connsiteX257" fmla="*/ 934427 w 1572528"/>
                  <a:gd name="connsiteY257" fmla="*/ 216216 h 1549740"/>
                  <a:gd name="connsiteX258" fmla="*/ 987256 w 1572528"/>
                  <a:gd name="connsiteY258" fmla="*/ 232615 h 1549740"/>
                  <a:gd name="connsiteX259" fmla="*/ 989398 w 1572528"/>
                  <a:gd name="connsiteY259" fmla="*/ 234754 h 1549740"/>
                  <a:gd name="connsiteX260" fmla="*/ 1005104 w 1572528"/>
                  <a:gd name="connsiteY260" fmla="*/ 254718 h 1549740"/>
                  <a:gd name="connsiteX261" fmla="*/ 1044369 w 1572528"/>
                  <a:gd name="connsiteY261" fmla="*/ 306054 h 1549740"/>
                  <a:gd name="connsiteX262" fmla="*/ 1097198 w 1572528"/>
                  <a:gd name="connsiteY262" fmla="*/ 303202 h 1549740"/>
                  <a:gd name="connsiteX263" fmla="*/ 1093628 w 1572528"/>
                  <a:gd name="connsiteY263" fmla="*/ 249727 h 1549740"/>
                  <a:gd name="connsiteX264" fmla="*/ 1035088 w 1572528"/>
                  <a:gd name="connsiteY264" fmla="*/ 217642 h 1549740"/>
                  <a:gd name="connsiteX265" fmla="*/ 1025093 w 1572528"/>
                  <a:gd name="connsiteY265" fmla="*/ 214077 h 1549740"/>
                  <a:gd name="connsiteX266" fmla="*/ 1013671 w 1572528"/>
                  <a:gd name="connsiteY266" fmla="*/ 204095 h 1549740"/>
                  <a:gd name="connsiteX267" fmla="*/ 988684 w 1572528"/>
                  <a:gd name="connsiteY267" fmla="*/ 149907 h 1549740"/>
                  <a:gd name="connsiteX268" fmla="*/ 1008673 w 1572528"/>
                  <a:gd name="connsiteY268" fmla="*/ 99998 h 1549740"/>
                  <a:gd name="connsiteX269" fmla="*/ 1072925 w 1572528"/>
                  <a:gd name="connsiteY269" fmla="*/ 33689 h 1549740"/>
                  <a:gd name="connsiteX270" fmla="*/ 1091486 w 1572528"/>
                  <a:gd name="connsiteY270" fmla="*/ 15864 h 1549740"/>
                  <a:gd name="connsiteX271" fmla="*/ 1104337 w 1572528"/>
                  <a:gd name="connsiteY271" fmla="*/ 3743 h 1549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Lst>
                <a:rect l="l" t="t" r="r" b="b"/>
                <a:pathLst>
                  <a:path w="1572528" h="1549740">
                    <a:moveTo>
                      <a:pt x="761639" y="978240"/>
                    </a:moveTo>
                    <a:cubicBezTo>
                      <a:pt x="762352" y="978240"/>
                      <a:pt x="762352" y="978240"/>
                      <a:pt x="762352" y="978240"/>
                    </a:cubicBezTo>
                    <a:cubicBezTo>
                      <a:pt x="765917" y="978240"/>
                      <a:pt x="768055" y="979670"/>
                      <a:pt x="769481" y="981099"/>
                    </a:cubicBezTo>
                    <a:cubicBezTo>
                      <a:pt x="771620" y="982528"/>
                      <a:pt x="772333" y="985387"/>
                      <a:pt x="772333" y="987531"/>
                    </a:cubicBezTo>
                    <a:cubicBezTo>
                      <a:pt x="772333" y="990390"/>
                      <a:pt x="772333" y="990390"/>
                      <a:pt x="772333" y="990390"/>
                    </a:cubicBezTo>
                    <a:cubicBezTo>
                      <a:pt x="773046" y="991105"/>
                      <a:pt x="773046" y="991105"/>
                      <a:pt x="773046" y="991105"/>
                    </a:cubicBezTo>
                    <a:cubicBezTo>
                      <a:pt x="772333" y="991820"/>
                      <a:pt x="772333" y="992534"/>
                      <a:pt x="772333" y="992534"/>
                    </a:cubicBezTo>
                    <a:cubicBezTo>
                      <a:pt x="761639" y="1023267"/>
                      <a:pt x="754510" y="1056143"/>
                      <a:pt x="754510" y="1079014"/>
                    </a:cubicBezTo>
                    <a:cubicBezTo>
                      <a:pt x="754510" y="1133332"/>
                      <a:pt x="799424" y="1178359"/>
                      <a:pt x="854320" y="1178359"/>
                    </a:cubicBezTo>
                    <a:cubicBezTo>
                      <a:pt x="909928" y="1178359"/>
                      <a:pt x="954843" y="1133332"/>
                      <a:pt x="954843" y="1079014"/>
                    </a:cubicBezTo>
                    <a:cubicBezTo>
                      <a:pt x="954843" y="1056143"/>
                      <a:pt x="947714" y="1023982"/>
                      <a:pt x="937020" y="992534"/>
                    </a:cubicBezTo>
                    <a:cubicBezTo>
                      <a:pt x="936307" y="991820"/>
                      <a:pt x="936307" y="991105"/>
                      <a:pt x="936307" y="991105"/>
                    </a:cubicBezTo>
                    <a:cubicBezTo>
                      <a:pt x="936307" y="990390"/>
                      <a:pt x="936307" y="990390"/>
                      <a:pt x="936307" y="990390"/>
                    </a:cubicBezTo>
                    <a:cubicBezTo>
                      <a:pt x="936307" y="988961"/>
                      <a:pt x="936307" y="988961"/>
                      <a:pt x="936307" y="988961"/>
                    </a:cubicBezTo>
                    <a:cubicBezTo>
                      <a:pt x="937020" y="983958"/>
                      <a:pt x="940584" y="978955"/>
                      <a:pt x="947001" y="978955"/>
                    </a:cubicBezTo>
                    <a:cubicBezTo>
                      <a:pt x="987638" y="981099"/>
                      <a:pt x="1021145" y="983243"/>
                      <a:pt x="1052514" y="986102"/>
                    </a:cubicBezTo>
                    <a:cubicBezTo>
                      <a:pt x="1052514" y="1472105"/>
                      <a:pt x="1052514" y="1472105"/>
                      <a:pt x="1052514" y="1472105"/>
                    </a:cubicBezTo>
                    <a:cubicBezTo>
                      <a:pt x="1052514" y="1480681"/>
                      <a:pt x="1045385" y="1487828"/>
                      <a:pt x="1037543" y="1487828"/>
                    </a:cubicBezTo>
                    <a:cubicBezTo>
                      <a:pt x="578416" y="1487828"/>
                      <a:pt x="578416" y="1487828"/>
                      <a:pt x="578416" y="1487828"/>
                    </a:cubicBezTo>
                    <a:cubicBezTo>
                      <a:pt x="582694" y="1449234"/>
                      <a:pt x="584833" y="1412069"/>
                      <a:pt x="586259" y="1375619"/>
                    </a:cubicBezTo>
                    <a:cubicBezTo>
                      <a:pt x="587684" y="1353463"/>
                      <a:pt x="571287" y="1334880"/>
                      <a:pt x="548473" y="1333451"/>
                    </a:cubicBezTo>
                    <a:cubicBezTo>
                      <a:pt x="547760" y="1333451"/>
                      <a:pt x="547760" y="1333451"/>
                      <a:pt x="547760" y="1333451"/>
                    </a:cubicBezTo>
                    <a:cubicBezTo>
                      <a:pt x="543483" y="1333451"/>
                      <a:pt x="538492" y="1333451"/>
                      <a:pt x="533502" y="1335595"/>
                    </a:cubicBezTo>
                    <a:cubicBezTo>
                      <a:pt x="504985" y="1345601"/>
                      <a:pt x="475754" y="1351319"/>
                      <a:pt x="455792" y="1351319"/>
                    </a:cubicBezTo>
                    <a:cubicBezTo>
                      <a:pt x="417294" y="1351319"/>
                      <a:pt x="387351" y="1319871"/>
                      <a:pt x="387351" y="1281992"/>
                    </a:cubicBezTo>
                    <a:cubicBezTo>
                      <a:pt x="387351" y="1243397"/>
                      <a:pt x="417294" y="1212665"/>
                      <a:pt x="455792" y="1212665"/>
                    </a:cubicBezTo>
                    <a:cubicBezTo>
                      <a:pt x="476467" y="1212665"/>
                      <a:pt x="506410" y="1218383"/>
                      <a:pt x="532789" y="1228389"/>
                    </a:cubicBezTo>
                    <a:cubicBezTo>
                      <a:pt x="534928" y="1229103"/>
                      <a:pt x="534928" y="1229103"/>
                      <a:pt x="534928" y="1229103"/>
                    </a:cubicBezTo>
                    <a:cubicBezTo>
                      <a:pt x="538492" y="1229818"/>
                      <a:pt x="543483" y="1231247"/>
                      <a:pt x="547760" y="1231247"/>
                    </a:cubicBezTo>
                    <a:cubicBezTo>
                      <a:pt x="548473" y="1231247"/>
                      <a:pt x="548473" y="1231247"/>
                      <a:pt x="548473" y="1231247"/>
                    </a:cubicBezTo>
                    <a:cubicBezTo>
                      <a:pt x="571287" y="1229818"/>
                      <a:pt x="588397" y="1210521"/>
                      <a:pt x="586971" y="1188365"/>
                    </a:cubicBezTo>
                    <a:cubicBezTo>
                      <a:pt x="584120" y="1119753"/>
                      <a:pt x="579129" y="1056858"/>
                      <a:pt x="570574" y="994678"/>
                    </a:cubicBezTo>
                    <a:cubicBezTo>
                      <a:pt x="631886" y="986102"/>
                      <a:pt x="694624" y="981099"/>
                      <a:pt x="761639" y="978240"/>
                    </a:cubicBezTo>
                    <a:close/>
                    <a:moveTo>
                      <a:pt x="251519" y="813140"/>
                    </a:moveTo>
                    <a:cubicBezTo>
                      <a:pt x="289977" y="813140"/>
                      <a:pt x="321313" y="845268"/>
                      <a:pt x="321313" y="883822"/>
                    </a:cubicBezTo>
                    <a:cubicBezTo>
                      <a:pt x="321313" y="903099"/>
                      <a:pt x="314904" y="933085"/>
                      <a:pt x="305645" y="960215"/>
                    </a:cubicBezTo>
                    <a:cubicBezTo>
                      <a:pt x="305645" y="960215"/>
                      <a:pt x="305645" y="960215"/>
                      <a:pt x="304933" y="961643"/>
                    </a:cubicBezTo>
                    <a:cubicBezTo>
                      <a:pt x="304221" y="965927"/>
                      <a:pt x="302796" y="970210"/>
                      <a:pt x="302796" y="975922"/>
                    </a:cubicBezTo>
                    <a:cubicBezTo>
                      <a:pt x="302796" y="975922"/>
                      <a:pt x="302796" y="975922"/>
                      <a:pt x="302796" y="976636"/>
                    </a:cubicBezTo>
                    <a:cubicBezTo>
                      <a:pt x="304221" y="998769"/>
                      <a:pt x="323450" y="1015904"/>
                      <a:pt x="345528" y="1014476"/>
                    </a:cubicBezTo>
                    <a:cubicBezTo>
                      <a:pt x="413898" y="1011620"/>
                      <a:pt x="477284" y="1006622"/>
                      <a:pt x="539244" y="998055"/>
                    </a:cubicBezTo>
                    <a:cubicBezTo>
                      <a:pt x="547791" y="1059455"/>
                      <a:pt x="552776" y="1121569"/>
                      <a:pt x="555625" y="1189395"/>
                    </a:cubicBezTo>
                    <a:cubicBezTo>
                      <a:pt x="555625" y="1195820"/>
                      <a:pt x="550639" y="1199390"/>
                      <a:pt x="545654" y="1200104"/>
                    </a:cubicBezTo>
                    <a:cubicBezTo>
                      <a:pt x="544942" y="1200104"/>
                      <a:pt x="542805" y="1199390"/>
                      <a:pt x="541381" y="1199390"/>
                    </a:cubicBezTo>
                    <a:cubicBezTo>
                      <a:pt x="510757" y="1188681"/>
                      <a:pt x="477996" y="1181541"/>
                      <a:pt x="455206" y="1181541"/>
                    </a:cubicBezTo>
                    <a:cubicBezTo>
                      <a:pt x="400367" y="1181541"/>
                      <a:pt x="355499" y="1226520"/>
                      <a:pt x="355499" y="1281495"/>
                    </a:cubicBezTo>
                    <a:cubicBezTo>
                      <a:pt x="355499" y="1337184"/>
                      <a:pt x="400367" y="1381449"/>
                      <a:pt x="455206" y="1381449"/>
                    </a:cubicBezTo>
                    <a:cubicBezTo>
                      <a:pt x="477284" y="1381449"/>
                      <a:pt x="510044" y="1375023"/>
                      <a:pt x="541381" y="1364314"/>
                    </a:cubicBezTo>
                    <a:cubicBezTo>
                      <a:pt x="542093" y="1363600"/>
                      <a:pt x="544230" y="1363600"/>
                      <a:pt x="545654" y="1363600"/>
                    </a:cubicBezTo>
                    <a:cubicBezTo>
                      <a:pt x="550639" y="1364314"/>
                      <a:pt x="554913" y="1367884"/>
                      <a:pt x="554913" y="1374309"/>
                    </a:cubicBezTo>
                    <a:cubicBezTo>
                      <a:pt x="553488" y="1411435"/>
                      <a:pt x="550639" y="1448561"/>
                      <a:pt x="547078" y="1487828"/>
                    </a:cubicBezTo>
                    <a:cubicBezTo>
                      <a:pt x="547078" y="1487828"/>
                      <a:pt x="547078" y="1487828"/>
                      <a:pt x="78456" y="1487828"/>
                    </a:cubicBezTo>
                    <a:cubicBezTo>
                      <a:pt x="69909" y="1487828"/>
                      <a:pt x="63500" y="1480689"/>
                      <a:pt x="63500" y="1472121"/>
                    </a:cubicBezTo>
                    <a:cubicBezTo>
                      <a:pt x="63500" y="1472121"/>
                      <a:pt x="63500" y="1472121"/>
                      <a:pt x="63500" y="1008050"/>
                    </a:cubicBezTo>
                    <a:cubicBezTo>
                      <a:pt x="91987" y="1010192"/>
                      <a:pt x="124748" y="1012334"/>
                      <a:pt x="157509" y="1013762"/>
                    </a:cubicBezTo>
                    <a:cubicBezTo>
                      <a:pt x="179587" y="1015190"/>
                      <a:pt x="198816" y="998055"/>
                      <a:pt x="199529" y="975922"/>
                    </a:cubicBezTo>
                    <a:cubicBezTo>
                      <a:pt x="199529" y="975922"/>
                      <a:pt x="199529" y="975922"/>
                      <a:pt x="200241" y="974494"/>
                    </a:cubicBezTo>
                    <a:cubicBezTo>
                      <a:pt x="200241" y="971638"/>
                      <a:pt x="200241" y="966641"/>
                      <a:pt x="198816" y="961643"/>
                    </a:cubicBezTo>
                    <a:cubicBezTo>
                      <a:pt x="198816" y="961643"/>
                      <a:pt x="198816" y="961643"/>
                      <a:pt x="198104" y="960215"/>
                    </a:cubicBezTo>
                    <a:cubicBezTo>
                      <a:pt x="188133" y="933085"/>
                      <a:pt x="182436" y="903099"/>
                      <a:pt x="182436" y="883822"/>
                    </a:cubicBezTo>
                    <a:cubicBezTo>
                      <a:pt x="182436" y="845268"/>
                      <a:pt x="213060" y="813140"/>
                      <a:pt x="251519" y="813140"/>
                    </a:cubicBezTo>
                    <a:close/>
                    <a:moveTo>
                      <a:pt x="78467" y="498815"/>
                    </a:moveTo>
                    <a:cubicBezTo>
                      <a:pt x="78467" y="498815"/>
                      <a:pt x="78467" y="498815"/>
                      <a:pt x="524586" y="498815"/>
                    </a:cubicBezTo>
                    <a:cubicBezTo>
                      <a:pt x="521735" y="530201"/>
                      <a:pt x="520310" y="558735"/>
                      <a:pt x="519597" y="585841"/>
                    </a:cubicBezTo>
                    <a:cubicBezTo>
                      <a:pt x="518172" y="607954"/>
                      <a:pt x="534563" y="625787"/>
                      <a:pt x="555942" y="627927"/>
                    </a:cubicBezTo>
                    <a:cubicBezTo>
                      <a:pt x="561644" y="629354"/>
                      <a:pt x="567345" y="627927"/>
                      <a:pt x="571621" y="627214"/>
                    </a:cubicBezTo>
                    <a:cubicBezTo>
                      <a:pt x="571621" y="627214"/>
                      <a:pt x="571621" y="627214"/>
                      <a:pt x="573046" y="626500"/>
                    </a:cubicBezTo>
                    <a:cubicBezTo>
                      <a:pt x="600127" y="616514"/>
                      <a:pt x="630058" y="610094"/>
                      <a:pt x="649300" y="610094"/>
                    </a:cubicBezTo>
                    <a:cubicBezTo>
                      <a:pt x="687783" y="610094"/>
                      <a:pt x="719139" y="641480"/>
                      <a:pt x="719139" y="680000"/>
                    </a:cubicBezTo>
                    <a:cubicBezTo>
                      <a:pt x="719139" y="718520"/>
                      <a:pt x="687783" y="749906"/>
                      <a:pt x="649300" y="749906"/>
                    </a:cubicBezTo>
                    <a:cubicBezTo>
                      <a:pt x="630058" y="749906"/>
                      <a:pt x="600127" y="743486"/>
                      <a:pt x="573046" y="734213"/>
                    </a:cubicBezTo>
                    <a:cubicBezTo>
                      <a:pt x="573046" y="734213"/>
                      <a:pt x="573046" y="734213"/>
                      <a:pt x="571621" y="733499"/>
                    </a:cubicBezTo>
                    <a:cubicBezTo>
                      <a:pt x="567345" y="732073"/>
                      <a:pt x="562356" y="731359"/>
                      <a:pt x="555942" y="732073"/>
                    </a:cubicBezTo>
                    <a:cubicBezTo>
                      <a:pt x="545965" y="732786"/>
                      <a:pt x="536701" y="737066"/>
                      <a:pt x="529574" y="744199"/>
                    </a:cubicBezTo>
                    <a:cubicBezTo>
                      <a:pt x="522448" y="752759"/>
                      <a:pt x="518172" y="763459"/>
                      <a:pt x="518885" y="774159"/>
                    </a:cubicBezTo>
                    <a:cubicBezTo>
                      <a:pt x="521735" y="842638"/>
                      <a:pt x="526724" y="906124"/>
                      <a:pt x="535276" y="968184"/>
                    </a:cubicBezTo>
                    <a:cubicBezTo>
                      <a:pt x="473988" y="976030"/>
                      <a:pt x="411274" y="981737"/>
                      <a:pt x="344285" y="984590"/>
                    </a:cubicBezTo>
                    <a:cubicBezTo>
                      <a:pt x="337871" y="984590"/>
                      <a:pt x="333596" y="978884"/>
                      <a:pt x="333596" y="975317"/>
                    </a:cubicBezTo>
                    <a:cubicBezTo>
                      <a:pt x="333596" y="973890"/>
                      <a:pt x="333596" y="971750"/>
                      <a:pt x="334308" y="969610"/>
                    </a:cubicBezTo>
                    <a:cubicBezTo>
                      <a:pt x="344998" y="939651"/>
                      <a:pt x="352124" y="906838"/>
                      <a:pt x="352124" y="884011"/>
                    </a:cubicBezTo>
                    <a:cubicBezTo>
                      <a:pt x="352124" y="829085"/>
                      <a:pt x="307228" y="784146"/>
                      <a:pt x="251641" y="784146"/>
                    </a:cubicBezTo>
                    <a:cubicBezTo>
                      <a:pt x="196767" y="784146"/>
                      <a:pt x="151870" y="829085"/>
                      <a:pt x="151870" y="884011"/>
                    </a:cubicBezTo>
                    <a:cubicBezTo>
                      <a:pt x="151870" y="906838"/>
                      <a:pt x="158996" y="939651"/>
                      <a:pt x="169686" y="969610"/>
                    </a:cubicBezTo>
                    <a:cubicBezTo>
                      <a:pt x="169686" y="971037"/>
                      <a:pt x="169686" y="972464"/>
                      <a:pt x="169686" y="973890"/>
                    </a:cubicBezTo>
                    <a:cubicBezTo>
                      <a:pt x="169686" y="978884"/>
                      <a:pt x="165410" y="983877"/>
                      <a:pt x="158996" y="983163"/>
                    </a:cubicBezTo>
                    <a:cubicBezTo>
                      <a:pt x="125502" y="981737"/>
                      <a:pt x="92720" y="979597"/>
                      <a:pt x="63501" y="977457"/>
                    </a:cubicBezTo>
                    <a:cubicBezTo>
                      <a:pt x="63501" y="977457"/>
                      <a:pt x="63501" y="977457"/>
                      <a:pt x="63501" y="514508"/>
                    </a:cubicBezTo>
                    <a:cubicBezTo>
                      <a:pt x="63501" y="505948"/>
                      <a:pt x="69915" y="498815"/>
                      <a:pt x="78467" y="498815"/>
                    </a:cubicBezTo>
                    <a:close/>
                    <a:moveTo>
                      <a:pt x="31750" y="467065"/>
                    </a:moveTo>
                    <a:cubicBezTo>
                      <a:pt x="31750" y="467065"/>
                      <a:pt x="31750" y="467065"/>
                      <a:pt x="31750" y="1517990"/>
                    </a:cubicBezTo>
                    <a:cubicBezTo>
                      <a:pt x="31750" y="1517990"/>
                      <a:pt x="31750" y="1517990"/>
                      <a:pt x="1084263" y="1517990"/>
                    </a:cubicBezTo>
                    <a:cubicBezTo>
                      <a:pt x="1084263" y="1517990"/>
                      <a:pt x="1084263" y="1517990"/>
                      <a:pt x="1084263" y="958638"/>
                    </a:cubicBezTo>
                    <a:cubicBezTo>
                      <a:pt x="1042106" y="955071"/>
                      <a:pt x="979226" y="951504"/>
                      <a:pt x="949216" y="950077"/>
                    </a:cubicBezTo>
                    <a:cubicBezTo>
                      <a:pt x="926351" y="948650"/>
                      <a:pt x="907773" y="964346"/>
                      <a:pt x="905629" y="986463"/>
                    </a:cubicBezTo>
                    <a:cubicBezTo>
                      <a:pt x="904200" y="994311"/>
                      <a:pt x="907058" y="1000732"/>
                      <a:pt x="907773" y="1002873"/>
                    </a:cubicBezTo>
                    <a:cubicBezTo>
                      <a:pt x="917776" y="1031411"/>
                      <a:pt x="923492" y="1061376"/>
                      <a:pt x="923492" y="1080640"/>
                    </a:cubicBezTo>
                    <a:cubicBezTo>
                      <a:pt x="923492" y="1119167"/>
                      <a:pt x="892053" y="1149845"/>
                      <a:pt x="854182" y="1149845"/>
                    </a:cubicBezTo>
                    <a:cubicBezTo>
                      <a:pt x="815597" y="1149845"/>
                      <a:pt x="784158" y="1119167"/>
                      <a:pt x="784158" y="1080640"/>
                    </a:cubicBezTo>
                    <a:cubicBezTo>
                      <a:pt x="784158" y="1060663"/>
                      <a:pt x="790589" y="1029984"/>
                      <a:pt x="799877" y="1002873"/>
                    </a:cubicBezTo>
                    <a:cubicBezTo>
                      <a:pt x="800592" y="1001446"/>
                      <a:pt x="800592" y="1001446"/>
                      <a:pt x="800592" y="1001446"/>
                    </a:cubicBezTo>
                    <a:cubicBezTo>
                      <a:pt x="801307" y="997879"/>
                      <a:pt x="802736" y="992171"/>
                      <a:pt x="802021" y="986463"/>
                    </a:cubicBezTo>
                    <a:cubicBezTo>
                      <a:pt x="801307" y="976475"/>
                      <a:pt x="797019" y="967200"/>
                      <a:pt x="789159" y="960065"/>
                    </a:cubicBezTo>
                    <a:cubicBezTo>
                      <a:pt x="781300" y="952217"/>
                      <a:pt x="770581" y="948650"/>
                      <a:pt x="759863" y="949363"/>
                    </a:cubicBezTo>
                    <a:cubicBezTo>
                      <a:pt x="690553" y="951504"/>
                      <a:pt x="626960" y="957211"/>
                      <a:pt x="564795" y="965773"/>
                    </a:cubicBezTo>
                    <a:cubicBezTo>
                      <a:pt x="556935" y="904415"/>
                      <a:pt x="551219" y="841631"/>
                      <a:pt x="549075" y="773139"/>
                    </a:cubicBezTo>
                    <a:cubicBezTo>
                      <a:pt x="548360" y="773139"/>
                      <a:pt x="548360" y="773139"/>
                      <a:pt x="548360" y="773139"/>
                    </a:cubicBezTo>
                    <a:cubicBezTo>
                      <a:pt x="548360" y="769572"/>
                      <a:pt x="550504" y="766718"/>
                      <a:pt x="551219" y="766004"/>
                    </a:cubicBezTo>
                    <a:cubicBezTo>
                      <a:pt x="553362" y="763864"/>
                      <a:pt x="555506" y="762437"/>
                      <a:pt x="557649" y="762437"/>
                    </a:cubicBezTo>
                    <a:cubicBezTo>
                      <a:pt x="559079" y="762437"/>
                      <a:pt x="559079" y="762437"/>
                      <a:pt x="559079" y="762437"/>
                    </a:cubicBezTo>
                    <a:cubicBezTo>
                      <a:pt x="560508" y="762437"/>
                      <a:pt x="560508" y="762437"/>
                      <a:pt x="560508" y="762437"/>
                    </a:cubicBezTo>
                    <a:cubicBezTo>
                      <a:pt x="561222" y="762437"/>
                      <a:pt x="561937" y="762437"/>
                      <a:pt x="563366" y="763151"/>
                    </a:cubicBezTo>
                    <a:cubicBezTo>
                      <a:pt x="593376" y="773852"/>
                      <a:pt x="626245" y="780274"/>
                      <a:pt x="649110" y="780274"/>
                    </a:cubicBezTo>
                    <a:cubicBezTo>
                      <a:pt x="704130" y="780274"/>
                      <a:pt x="749860" y="736039"/>
                      <a:pt x="749860" y="680389"/>
                    </a:cubicBezTo>
                    <a:cubicBezTo>
                      <a:pt x="749860" y="625453"/>
                      <a:pt x="704130" y="579792"/>
                      <a:pt x="649110" y="579792"/>
                    </a:cubicBezTo>
                    <a:cubicBezTo>
                      <a:pt x="626245" y="579792"/>
                      <a:pt x="593376" y="586926"/>
                      <a:pt x="563366" y="598342"/>
                    </a:cubicBezTo>
                    <a:cubicBezTo>
                      <a:pt x="562651" y="598342"/>
                      <a:pt x="561937" y="598342"/>
                      <a:pt x="561222" y="598342"/>
                    </a:cubicBezTo>
                    <a:cubicBezTo>
                      <a:pt x="559079" y="598342"/>
                      <a:pt x="559079" y="598342"/>
                      <a:pt x="559079" y="598342"/>
                    </a:cubicBezTo>
                    <a:cubicBezTo>
                      <a:pt x="554077" y="598342"/>
                      <a:pt x="549075" y="593347"/>
                      <a:pt x="549790" y="587640"/>
                    </a:cubicBezTo>
                    <a:cubicBezTo>
                      <a:pt x="549790" y="586926"/>
                      <a:pt x="549790" y="586926"/>
                      <a:pt x="549790" y="586926"/>
                    </a:cubicBezTo>
                    <a:cubicBezTo>
                      <a:pt x="549790" y="566236"/>
                      <a:pt x="554077" y="507732"/>
                      <a:pt x="556935" y="467065"/>
                    </a:cubicBezTo>
                    <a:cubicBezTo>
                      <a:pt x="556935" y="467065"/>
                      <a:pt x="556935" y="467065"/>
                      <a:pt x="31750" y="467065"/>
                    </a:cubicBezTo>
                    <a:close/>
                    <a:moveTo>
                      <a:pt x="20704" y="435315"/>
                    </a:moveTo>
                    <a:cubicBezTo>
                      <a:pt x="20704" y="435315"/>
                      <a:pt x="20704" y="435315"/>
                      <a:pt x="558998" y="435315"/>
                    </a:cubicBezTo>
                    <a:cubicBezTo>
                      <a:pt x="558998" y="435315"/>
                      <a:pt x="558998" y="435315"/>
                      <a:pt x="591124" y="435315"/>
                    </a:cubicBezTo>
                    <a:cubicBezTo>
                      <a:pt x="591124" y="435315"/>
                      <a:pt x="591124" y="435315"/>
                      <a:pt x="588268" y="466727"/>
                    </a:cubicBezTo>
                    <a:cubicBezTo>
                      <a:pt x="588268" y="466727"/>
                      <a:pt x="588268" y="466727"/>
                      <a:pt x="583271" y="529552"/>
                    </a:cubicBezTo>
                    <a:cubicBezTo>
                      <a:pt x="583271" y="529552"/>
                      <a:pt x="583271" y="529552"/>
                      <a:pt x="582557" y="529552"/>
                    </a:cubicBezTo>
                    <a:cubicBezTo>
                      <a:pt x="582557" y="535264"/>
                      <a:pt x="581843" y="540975"/>
                      <a:pt x="581843" y="546686"/>
                    </a:cubicBezTo>
                    <a:cubicBezTo>
                      <a:pt x="581843" y="546686"/>
                      <a:pt x="581843" y="546686"/>
                      <a:pt x="581843" y="547400"/>
                    </a:cubicBezTo>
                    <a:cubicBezTo>
                      <a:pt x="581843" y="550970"/>
                      <a:pt x="581129" y="555253"/>
                      <a:pt x="581129" y="558823"/>
                    </a:cubicBezTo>
                    <a:cubicBezTo>
                      <a:pt x="606116" y="552398"/>
                      <a:pt x="629675" y="548114"/>
                      <a:pt x="648237" y="548114"/>
                    </a:cubicBezTo>
                    <a:cubicBezTo>
                      <a:pt x="721057" y="548114"/>
                      <a:pt x="780312" y="607369"/>
                      <a:pt x="780312" y="680189"/>
                    </a:cubicBezTo>
                    <a:cubicBezTo>
                      <a:pt x="780312" y="753008"/>
                      <a:pt x="721057" y="811550"/>
                      <a:pt x="648237" y="811550"/>
                    </a:cubicBezTo>
                    <a:cubicBezTo>
                      <a:pt x="628961" y="811550"/>
                      <a:pt x="604688" y="807980"/>
                      <a:pt x="580415" y="801555"/>
                    </a:cubicBezTo>
                    <a:cubicBezTo>
                      <a:pt x="582557" y="843676"/>
                      <a:pt x="586126" y="886511"/>
                      <a:pt x="591124" y="930774"/>
                    </a:cubicBezTo>
                    <a:cubicBezTo>
                      <a:pt x="646809" y="923635"/>
                      <a:pt x="701067" y="920065"/>
                      <a:pt x="757467" y="917923"/>
                    </a:cubicBezTo>
                    <a:cubicBezTo>
                      <a:pt x="758894" y="917923"/>
                      <a:pt x="759608" y="917923"/>
                      <a:pt x="761036" y="917923"/>
                    </a:cubicBezTo>
                    <a:cubicBezTo>
                      <a:pt x="779598" y="917923"/>
                      <a:pt x="796732" y="925062"/>
                      <a:pt x="809583" y="937199"/>
                    </a:cubicBezTo>
                    <a:cubicBezTo>
                      <a:pt x="822433" y="949336"/>
                      <a:pt x="831000" y="965756"/>
                      <a:pt x="832428" y="983604"/>
                    </a:cubicBezTo>
                    <a:cubicBezTo>
                      <a:pt x="833142" y="993599"/>
                      <a:pt x="831714" y="1002166"/>
                      <a:pt x="830286" y="1007163"/>
                    </a:cubicBezTo>
                    <a:cubicBezTo>
                      <a:pt x="830286" y="1007163"/>
                      <a:pt x="830286" y="1007163"/>
                      <a:pt x="829572" y="1012160"/>
                    </a:cubicBezTo>
                    <a:cubicBezTo>
                      <a:pt x="829572" y="1012160"/>
                      <a:pt x="829572" y="1012160"/>
                      <a:pt x="828144" y="1015016"/>
                    </a:cubicBezTo>
                    <a:cubicBezTo>
                      <a:pt x="819577" y="1040003"/>
                      <a:pt x="814580" y="1064990"/>
                      <a:pt x="814580" y="1080696"/>
                    </a:cubicBezTo>
                    <a:cubicBezTo>
                      <a:pt x="814580" y="1101400"/>
                      <a:pt x="831714" y="1118534"/>
                      <a:pt x="853131" y="1118534"/>
                    </a:cubicBezTo>
                    <a:cubicBezTo>
                      <a:pt x="873835" y="1118534"/>
                      <a:pt x="890969" y="1101400"/>
                      <a:pt x="890969" y="1080696"/>
                    </a:cubicBezTo>
                    <a:cubicBezTo>
                      <a:pt x="890969" y="1064276"/>
                      <a:pt x="885972" y="1037861"/>
                      <a:pt x="877405" y="1013588"/>
                    </a:cubicBezTo>
                    <a:cubicBezTo>
                      <a:pt x="877405" y="1013588"/>
                      <a:pt x="877405" y="1013588"/>
                      <a:pt x="877405" y="1012874"/>
                    </a:cubicBezTo>
                    <a:cubicBezTo>
                      <a:pt x="875977" y="1009305"/>
                      <a:pt x="870979" y="997168"/>
                      <a:pt x="873835" y="982176"/>
                    </a:cubicBezTo>
                    <a:cubicBezTo>
                      <a:pt x="877405" y="945766"/>
                      <a:pt x="908103" y="918637"/>
                      <a:pt x="945227" y="918637"/>
                    </a:cubicBezTo>
                    <a:cubicBezTo>
                      <a:pt x="946655" y="918637"/>
                      <a:pt x="948082" y="918637"/>
                      <a:pt x="949510" y="918637"/>
                    </a:cubicBezTo>
                    <a:cubicBezTo>
                      <a:pt x="974497" y="919351"/>
                      <a:pt x="998057" y="920779"/>
                      <a:pt x="1020188" y="922207"/>
                    </a:cubicBezTo>
                    <a:cubicBezTo>
                      <a:pt x="1020188" y="922207"/>
                      <a:pt x="1020188" y="922207"/>
                      <a:pt x="1083013" y="926490"/>
                    </a:cubicBezTo>
                    <a:cubicBezTo>
                      <a:pt x="1083013" y="926490"/>
                      <a:pt x="1083013" y="926490"/>
                      <a:pt x="1114425" y="928632"/>
                    </a:cubicBezTo>
                    <a:cubicBezTo>
                      <a:pt x="1114425" y="928632"/>
                      <a:pt x="1114425" y="928632"/>
                      <a:pt x="1114425" y="960758"/>
                    </a:cubicBezTo>
                    <a:cubicBezTo>
                      <a:pt x="1114425" y="960758"/>
                      <a:pt x="1114425" y="960758"/>
                      <a:pt x="1114425" y="1529037"/>
                    </a:cubicBezTo>
                    <a:cubicBezTo>
                      <a:pt x="1114425" y="1540459"/>
                      <a:pt x="1105144" y="1549740"/>
                      <a:pt x="1093722" y="1549740"/>
                    </a:cubicBezTo>
                    <a:cubicBezTo>
                      <a:pt x="1093722" y="1549740"/>
                      <a:pt x="1093722" y="1549740"/>
                      <a:pt x="20704" y="1549740"/>
                    </a:cubicBezTo>
                    <a:cubicBezTo>
                      <a:pt x="9281" y="1549740"/>
                      <a:pt x="0" y="1540459"/>
                      <a:pt x="0" y="1529037"/>
                    </a:cubicBezTo>
                    <a:cubicBezTo>
                      <a:pt x="0" y="1529037"/>
                      <a:pt x="0" y="1529037"/>
                      <a:pt x="0" y="456733"/>
                    </a:cubicBezTo>
                    <a:cubicBezTo>
                      <a:pt x="0" y="444596"/>
                      <a:pt x="9281" y="435315"/>
                      <a:pt x="20704" y="435315"/>
                    </a:cubicBezTo>
                    <a:close/>
                    <a:moveTo>
                      <a:pt x="1117210" y="78127"/>
                    </a:moveTo>
                    <a:cubicBezTo>
                      <a:pt x="1481067" y="394922"/>
                      <a:pt x="1481067" y="394922"/>
                      <a:pt x="1481067" y="394922"/>
                    </a:cubicBezTo>
                    <a:cubicBezTo>
                      <a:pt x="1486775" y="399916"/>
                      <a:pt x="1487488" y="409905"/>
                      <a:pt x="1482494" y="416327"/>
                    </a:cubicBezTo>
                    <a:cubicBezTo>
                      <a:pt x="1191408" y="750246"/>
                      <a:pt x="1191408" y="750246"/>
                      <a:pt x="1191408" y="750246"/>
                    </a:cubicBezTo>
                    <a:cubicBezTo>
                      <a:pt x="1170005" y="728127"/>
                      <a:pt x="1146461" y="704581"/>
                      <a:pt x="1117924" y="677468"/>
                    </a:cubicBezTo>
                    <a:cubicBezTo>
                      <a:pt x="1101514" y="662485"/>
                      <a:pt x="1077257" y="661058"/>
                      <a:pt x="1060848" y="676755"/>
                    </a:cubicBezTo>
                    <a:cubicBezTo>
                      <a:pt x="1054427" y="681749"/>
                      <a:pt x="1052287" y="688171"/>
                      <a:pt x="1051573" y="690311"/>
                    </a:cubicBezTo>
                    <a:cubicBezTo>
                      <a:pt x="1040158" y="718852"/>
                      <a:pt x="1025176" y="744538"/>
                      <a:pt x="1012334" y="759521"/>
                    </a:cubicBezTo>
                    <a:cubicBezTo>
                      <a:pt x="987363" y="788775"/>
                      <a:pt x="943130" y="790915"/>
                      <a:pt x="914592" y="765943"/>
                    </a:cubicBezTo>
                    <a:cubicBezTo>
                      <a:pt x="885341" y="740970"/>
                      <a:pt x="881773" y="697446"/>
                      <a:pt x="907457" y="668193"/>
                    </a:cubicBezTo>
                    <a:cubicBezTo>
                      <a:pt x="921013" y="652496"/>
                      <a:pt x="945270" y="633945"/>
                      <a:pt x="970241" y="619675"/>
                    </a:cubicBezTo>
                    <a:cubicBezTo>
                      <a:pt x="971667" y="618961"/>
                      <a:pt x="971667" y="618961"/>
                      <a:pt x="971667" y="618961"/>
                    </a:cubicBezTo>
                    <a:cubicBezTo>
                      <a:pt x="974521" y="616821"/>
                      <a:pt x="979515" y="613253"/>
                      <a:pt x="983083" y="608972"/>
                    </a:cubicBezTo>
                    <a:cubicBezTo>
                      <a:pt x="988790" y="600410"/>
                      <a:pt x="991644" y="591135"/>
                      <a:pt x="990217" y="580432"/>
                    </a:cubicBezTo>
                    <a:cubicBezTo>
                      <a:pt x="989504" y="569016"/>
                      <a:pt x="983796" y="559741"/>
                      <a:pt x="975235" y="553319"/>
                    </a:cubicBezTo>
                    <a:cubicBezTo>
                      <a:pt x="921726" y="509082"/>
                      <a:pt x="869645" y="471980"/>
                      <a:pt x="817563" y="437732"/>
                    </a:cubicBezTo>
                    <a:cubicBezTo>
                      <a:pt x="851809" y="385646"/>
                      <a:pt x="889621" y="334274"/>
                      <a:pt x="932428" y="281475"/>
                    </a:cubicBezTo>
                    <a:cubicBezTo>
                      <a:pt x="934568" y="278621"/>
                      <a:pt x="937422" y="277908"/>
                      <a:pt x="938849" y="277908"/>
                    </a:cubicBezTo>
                    <a:cubicBezTo>
                      <a:pt x="941703" y="277194"/>
                      <a:pt x="943843" y="277908"/>
                      <a:pt x="945983" y="279335"/>
                    </a:cubicBezTo>
                    <a:cubicBezTo>
                      <a:pt x="946697" y="280048"/>
                      <a:pt x="946697" y="280048"/>
                      <a:pt x="946697" y="280048"/>
                    </a:cubicBezTo>
                    <a:cubicBezTo>
                      <a:pt x="948124" y="280762"/>
                      <a:pt x="948124" y="280762"/>
                      <a:pt x="948124" y="280762"/>
                    </a:cubicBezTo>
                    <a:cubicBezTo>
                      <a:pt x="948124" y="281475"/>
                      <a:pt x="948837" y="282189"/>
                      <a:pt x="949551" y="283616"/>
                    </a:cubicBezTo>
                    <a:cubicBezTo>
                      <a:pt x="965246" y="311442"/>
                      <a:pt x="985936" y="337842"/>
                      <a:pt x="1003059" y="352825"/>
                    </a:cubicBezTo>
                    <a:cubicBezTo>
                      <a:pt x="1044439" y="388500"/>
                      <a:pt x="1107935" y="385646"/>
                      <a:pt x="1144321" y="343550"/>
                    </a:cubicBezTo>
                    <a:cubicBezTo>
                      <a:pt x="1181420" y="301453"/>
                      <a:pt x="1176426" y="237238"/>
                      <a:pt x="1135046" y="201563"/>
                    </a:cubicBezTo>
                    <a:cubicBezTo>
                      <a:pt x="1117210" y="185866"/>
                      <a:pt x="1087959" y="170169"/>
                      <a:pt x="1058708" y="158753"/>
                    </a:cubicBezTo>
                    <a:cubicBezTo>
                      <a:pt x="1057994" y="158039"/>
                      <a:pt x="1057281" y="157326"/>
                      <a:pt x="1056567" y="157326"/>
                    </a:cubicBezTo>
                    <a:cubicBezTo>
                      <a:pt x="1055140" y="155899"/>
                      <a:pt x="1055140" y="155899"/>
                      <a:pt x="1055140" y="155899"/>
                    </a:cubicBezTo>
                    <a:cubicBezTo>
                      <a:pt x="1051573" y="152331"/>
                      <a:pt x="1050146" y="145910"/>
                      <a:pt x="1054427" y="142342"/>
                    </a:cubicBezTo>
                    <a:cubicBezTo>
                      <a:pt x="1055140" y="141629"/>
                      <a:pt x="1055140" y="141629"/>
                      <a:pt x="1055140" y="141629"/>
                    </a:cubicBezTo>
                    <a:cubicBezTo>
                      <a:pt x="1073690" y="120937"/>
                      <a:pt x="1093667" y="100246"/>
                      <a:pt x="1117210" y="78127"/>
                    </a:cubicBezTo>
                    <a:close/>
                    <a:moveTo>
                      <a:pt x="1115264" y="36852"/>
                    </a:moveTo>
                    <a:cubicBezTo>
                      <a:pt x="1115264" y="36852"/>
                      <a:pt x="1115264" y="36852"/>
                      <a:pt x="1094549" y="56808"/>
                    </a:cubicBezTo>
                    <a:cubicBezTo>
                      <a:pt x="1072405" y="77478"/>
                      <a:pt x="1052405" y="98859"/>
                      <a:pt x="1030976" y="121667"/>
                    </a:cubicBezTo>
                    <a:cubicBezTo>
                      <a:pt x="1023833" y="129507"/>
                      <a:pt x="1019547" y="139485"/>
                      <a:pt x="1019547" y="150176"/>
                    </a:cubicBezTo>
                    <a:cubicBezTo>
                      <a:pt x="1019547" y="161579"/>
                      <a:pt x="1024547" y="172270"/>
                      <a:pt x="1033833" y="180823"/>
                    </a:cubicBezTo>
                    <a:cubicBezTo>
                      <a:pt x="1033833" y="180823"/>
                      <a:pt x="1033833" y="180823"/>
                      <a:pt x="1040976" y="186525"/>
                    </a:cubicBezTo>
                    <a:cubicBezTo>
                      <a:pt x="1040976" y="186525"/>
                      <a:pt x="1040976" y="186525"/>
                      <a:pt x="1045976" y="189376"/>
                    </a:cubicBezTo>
                    <a:cubicBezTo>
                      <a:pt x="1073120" y="199354"/>
                      <a:pt x="1099549" y="214321"/>
                      <a:pt x="1113835" y="226437"/>
                    </a:cubicBezTo>
                    <a:cubicBezTo>
                      <a:pt x="1142407" y="250670"/>
                      <a:pt x="1145264" y="295572"/>
                      <a:pt x="1120264" y="323368"/>
                    </a:cubicBezTo>
                    <a:cubicBezTo>
                      <a:pt x="1095263" y="351877"/>
                      <a:pt x="1051691" y="354728"/>
                      <a:pt x="1023119" y="329783"/>
                    </a:cubicBezTo>
                    <a:cubicBezTo>
                      <a:pt x="1008833" y="316954"/>
                      <a:pt x="990261" y="293434"/>
                      <a:pt x="976689" y="269914"/>
                    </a:cubicBezTo>
                    <a:cubicBezTo>
                      <a:pt x="975260" y="265637"/>
                      <a:pt x="971689" y="261361"/>
                      <a:pt x="968117" y="258510"/>
                    </a:cubicBezTo>
                    <a:cubicBezTo>
                      <a:pt x="968117" y="258510"/>
                      <a:pt x="968117" y="258510"/>
                      <a:pt x="965975" y="256372"/>
                    </a:cubicBezTo>
                    <a:cubicBezTo>
                      <a:pt x="960260" y="252095"/>
                      <a:pt x="950260" y="245681"/>
                      <a:pt x="935974" y="247106"/>
                    </a:cubicBezTo>
                    <a:cubicBezTo>
                      <a:pt x="925974" y="247819"/>
                      <a:pt x="915259" y="253521"/>
                      <a:pt x="908116" y="262074"/>
                    </a:cubicBezTo>
                    <a:cubicBezTo>
                      <a:pt x="908116" y="262074"/>
                      <a:pt x="908116" y="262074"/>
                      <a:pt x="930974" y="282030"/>
                    </a:cubicBezTo>
                    <a:cubicBezTo>
                      <a:pt x="930974" y="282030"/>
                      <a:pt x="930974" y="282030"/>
                      <a:pt x="906688" y="262786"/>
                    </a:cubicBezTo>
                    <a:cubicBezTo>
                      <a:pt x="867401" y="311252"/>
                      <a:pt x="828829" y="363281"/>
                      <a:pt x="790256" y="420299"/>
                    </a:cubicBezTo>
                    <a:cubicBezTo>
                      <a:pt x="790256" y="420299"/>
                      <a:pt x="790256" y="420299"/>
                      <a:pt x="773113" y="446670"/>
                    </a:cubicBezTo>
                    <a:cubicBezTo>
                      <a:pt x="773113" y="446670"/>
                      <a:pt x="773113" y="446670"/>
                      <a:pt x="799542" y="464488"/>
                    </a:cubicBezTo>
                    <a:cubicBezTo>
                      <a:pt x="854544" y="499412"/>
                      <a:pt x="905259" y="537186"/>
                      <a:pt x="955260" y="577099"/>
                    </a:cubicBezTo>
                    <a:cubicBezTo>
                      <a:pt x="955260" y="577099"/>
                      <a:pt x="955260" y="577099"/>
                      <a:pt x="955974" y="577811"/>
                    </a:cubicBezTo>
                    <a:cubicBezTo>
                      <a:pt x="955974" y="577811"/>
                      <a:pt x="955974" y="577811"/>
                      <a:pt x="955974" y="578524"/>
                    </a:cubicBezTo>
                    <a:cubicBezTo>
                      <a:pt x="955974" y="578524"/>
                      <a:pt x="955974" y="578524"/>
                      <a:pt x="956689" y="578524"/>
                    </a:cubicBezTo>
                    <a:cubicBezTo>
                      <a:pt x="957403" y="579237"/>
                      <a:pt x="958832" y="580662"/>
                      <a:pt x="958832" y="582800"/>
                    </a:cubicBezTo>
                    <a:cubicBezTo>
                      <a:pt x="958832" y="582800"/>
                      <a:pt x="958832" y="582800"/>
                      <a:pt x="958832" y="583513"/>
                    </a:cubicBezTo>
                    <a:cubicBezTo>
                      <a:pt x="958832" y="583513"/>
                      <a:pt x="958832" y="583513"/>
                      <a:pt x="958832" y="584226"/>
                    </a:cubicBezTo>
                    <a:cubicBezTo>
                      <a:pt x="959546" y="586364"/>
                      <a:pt x="958832" y="588502"/>
                      <a:pt x="957403" y="589928"/>
                    </a:cubicBezTo>
                    <a:cubicBezTo>
                      <a:pt x="957403" y="589928"/>
                      <a:pt x="957403" y="589928"/>
                      <a:pt x="956689" y="590640"/>
                    </a:cubicBezTo>
                    <a:cubicBezTo>
                      <a:pt x="955974" y="591353"/>
                      <a:pt x="955974" y="591353"/>
                      <a:pt x="955974" y="592066"/>
                    </a:cubicBezTo>
                    <a:cubicBezTo>
                      <a:pt x="955974" y="592066"/>
                      <a:pt x="955974" y="592066"/>
                      <a:pt x="953831" y="592779"/>
                    </a:cubicBezTo>
                    <a:cubicBezTo>
                      <a:pt x="925259" y="609884"/>
                      <a:pt x="898830" y="629840"/>
                      <a:pt x="883830" y="647659"/>
                    </a:cubicBezTo>
                    <a:cubicBezTo>
                      <a:pt x="847401" y="688997"/>
                      <a:pt x="852401" y="753142"/>
                      <a:pt x="894544" y="789491"/>
                    </a:cubicBezTo>
                    <a:cubicBezTo>
                      <a:pt x="935974" y="825840"/>
                      <a:pt x="1000261" y="821564"/>
                      <a:pt x="1035976" y="780226"/>
                    </a:cubicBezTo>
                    <a:cubicBezTo>
                      <a:pt x="1051691" y="762408"/>
                      <a:pt x="1068120" y="733186"/>
                      <a:pt x="1080977" y="702539"/>
                    </a:cubicBezTo>
                    <a:cubicBezTo>
                      <a:pt x="1081691" y="701826"/>
                      <a:pt x="1081691" y="700400"/>
                      <a:pt x="1081691" y="700400"/>
                    </a:cubicBezTo>
                    <a:cubicBezTo>
                      <a:pt x="1081691" y="700400"/>
                      <a:pt x="1081691" y="700400"/>
                      <a:pt x="1082406" y="699688"/>
                    </a:cubicBezTo>
                    <a:cubicBezTo>
                      <a:pt x="1086691" y="696124"/>
                      <a:pt x="1090977" y="696124"/>
                      <a:pt x="1094549" y="699688"/>
                    </a:cubicBezTo>
                    <a:cubicBezTo>
                      <a:pt x="1094549" y="699688"/>
                      <a:pt x="1094549" y="699688"/>
                      <a:pt x="1095977" y="700400"/>
                    </a:cubicBezTo>
                    <a:cubicBezTo>
                      <a:pt x="1123835" y="726771"/>
                      <a:pt x="1147407" y="749578"/>
                      <a:pt x="1168836" y="772386"/>
                    </a:cubicBezTo>
                    <a:cubicBezTo>
                      <a:pt x="1168836" y="772386"/>
                      <a:pt x="1168836" y="772386"/>
                      <a:pt x="1193122" y="797331"/>
                    </a:cubicBezTo>
                    <a:cubicBezTo>
                      <a:pt x="1193122" y="797331"/>
                      <a:pt x="1193122" y="797331"/>
                      <a:pt x="1505986" y="438117"/>
                    </a:cubicBezTo>
                    <a:cubicBezTo>
                      <a:pt x="1505986" y="438117"/>
                      <a:pt x="1505986" y="438117"/>
                      <a:pt x="1536701" y="403193"/>
                    </a:cubicBezTo>
                    <a:cubicBezTo>
                      <a:pt x="1536701" y="403193"/>
                      <a:pt x="1536701" y="403193"/>
                      <a:pt x="1501700" y="372546"/>
                    </a:cubicBezTo>
                    <a:cubicBezTo>
                      <a:pt x="1501700" y="372546"/>
                      <a:pt x="1501700" y="372546"/>
                      <a:pt x="1115264" y="36852"/>
                    </a:cubicBezTo>
                    <a:close/>
                    <a:moveTo>
                      <a:pt x="1104337" y="3743"/>
                    </a:moveTo>
                    <a:cubicBezTo>
                      <a:pt x="1110048" y="-1248"/>
                      <a:pt x="1119329" y="-1248"/>
                      <a:pt x="1125754" y="3743"/>
                    </a:cubicBezTo>
                    <a:cubicBezTo>
                      <a:pt x="1125754" y="3743"/>
                      <a:pt x="1125754" y="3743"/>
                      <a:pt x="1522685" y="348834"/>
                    </a:cubicBezTo>
                    <a:cubicBezTo>
                      <a:pt x="1522685" y="348834"/>
                      <a:pt x="1522685" y="348834"/>
                      <a:pt x="1565519" y="385909"/>
                    </a:cubicBezTo>
                    <a:cubicBezTo>
                      <a:pt x="1574086" y="393752"/>
                      <a:pt x="1574800" y="406586"/>
                      <a:pt x="1567661" y="415142"/>
                    </a:cubicBezTo>
                    <a:cubicBezTo>
                      <a:pt x="1567661" y="415142"/>
                      <a:pt x="1567661" y="415142"/>
                      <a:pt x="1529824" y="458635"/>
                    </a:cubicBezTo>
                    <a:cubicBezTo>
                      <a:pt x="1529824" y="458635"/>
                      <a:pt x="1529824" y="458635"/>
                      <a:pt x="1194289" y="844366"/>
                    </a:cubicBezTo>
                    <a:cubicBezTo>
                      <a:pt x="1194289" y="844366"/>
                      <a:pt x="1194289" y="844366"/>
                      <a:pt x="1172872" y="820837"/>
                    </a:cubicBezTo>
                    <a:cubicBezTo>
                      <a:pt x="1172872" y="820837"/>
                      <a:pt x="1172872" y="820837"/>
                      <a:pt x="1146457" y="794456"/>
                    </a:cubicBezTo>
                    <a:cubicBezTo>
                      <a:pt x="1131465" y="778058"/>
                      <a:pt x="1115759" y="761659"/>
                      <a:pt x="1097198" y="744547"/>
                    </a:cubicBezTo>
                    <a:cubicBezTo>
                      <a:pt x="1086489" y="766650"/>
                      <a:pt x="1072925" y="785901"/>
                      <a:pt x="1060788" y="800873"/>
                    </a:cubicBezTo>
                    <a:cubicBezTo>
                      <a:pt x="1012957" y="855061"/>
                      <a:pt x="929430" y="860765"/>
                      <a:pt x="874459" y="812994"/>
                    </a:cubicBezTo>
                    <a:cubicBezTo>
                      <a:pt x="818775" y="765224"/>
                      <a:pt x="813063" y="681803"/>
                      <a:pt x="860181" y="626902"/>
                    </a:cubicBezTo>
                    <a:cubicBezTo>
                      <a:pt x="873031" y="611929"/>
                      <a:pt x="891593" y="596956"/>
                      <a:pt x="912296" y="582696"/>
                    </a:cubicBezTo>
                    <a:cubicBezTo>
                      <a:pt x="870890" y="549899"/>
                      <a:pt x="828055" y="519240"/>
                      <a:pt x="783793" y="490007"/>
                    </a:cubicBezTo>
                    <a:cubicBezTo>
                      <a:pt x="783793" y="490007"/>
                      <a:pt x="783793" y="490007"/>
                      <a:pt x="778082" y="486442"/>
                    </a:cubicBezTo>
                    <a:cubicBezTo>
                      <a:pt x="778082" y="486442"/>
                      <a:pt x="778082" y="486442"/>
                      <a:pt x="730250" y="455070"/>
                    </a:cubicBezTo>
                    <a:cubicBezTo>
                      <a:pt x="730250" y="455070"/>
                      <a:pt x="730250" y="455070"/>
                      <a:pt x="736675" y="445801"/>
                    </a:cubicBezTo>
                    <a:cubicBezTo>
                      <a:pt x="736675" y="445801"/>
                      <a:pt x="736675" y="445801"/>
                      <a:pt x="765946" y="403021"/>
                    </a:cubicBezTo>
                    <a:cubicBezTo>
                      <a:pt x="798071" y="353824"/>
                      <a:pt x="830911" y="308193"/>
                      <a:pt x="864464" y="265413"/>
                    </a:cubicBezTo>
                    <a:cubicBezTo>
                      <a:pt x="864464" y="265413"/>
                      <a:pt x="900160" y="226198"/>
                      <a:pt x="908013" y="222633"/>
                    </a:cubicBezTo>
                    <a:cubicBezTo>
                      <a:pt x="916580" y="218355"/>
                      <a:pt x="925146" y="216216"/>
                      <a:pt x="934427" y="216216"/>
                    </a:cubicBezTo>
                    <a:cubicBezTo>
                      <a:pt x="953703" y="214077"/>
                      <a:pt x="972978" y="220494"/>
                      <a:pt x="987256" y="232615"/>
                    </a:cubicBezTo>
                    <a:cubicBezTo>
                      <a:pt x="987256" y="232615"/>
                      <a:pt x="987256" y="232615"/>
                      <a:pt x="989398" y="234754"/>
                    </a:cubicBezTo>
                    <a:cubicBezTo>
                      <a:pt x="995823" y="239745"/>
                      <a:pt x="1000820" y="246875"/>
                      <a:pt x="1005104" y="254718"/>
                    </a:cubicBezTo>
                    <a:cubicBezTo>
                      <a:pt x="1016526" y="275395"/>
                      <a:pt x="1032232" y="295359"/>
                      <a:pt x="1044369" y="306054"/>
                    </a:cubicBezTo>
                    <a:cubicBezTo>
                      <a:pt x="1060074" y="319601"/>
                      <a:pt x="1083633" y="318175"/>
                      <a:pt x="1097198" y="303202"/>
                    </a:cubicBezTo>
                    <a:cubicBezTo>
                      <a:pt x="1110762" y="287516"/>
                      <a:pt x="1109334" y="263274"/>
                      <a:pt x="1093628" y="249727"/>
                    </a:cubicBezTo>
                    <a:cubicBezTo>
                      <a:pt x="1084347" y="241884"/>
                      <a:pt x="1062216" y="228337"/>
                      <a:pt x="1035088" y="217642"/>
                    </a:cubicBezTo>
                    <a:cubicBezTo>
                      <a:pt x="1035088" y="217642"/>
                      <a:pt x="1035088" y="217642"/>
                      <a:pt x="1025093" y="214077"/>
                    </a:cubicBezTo>
                    <a:cubicBezTo>
                      <a:pt x="1025093" y="214077"/>
                      <a:pt x="1025093" y="214077"/>
                      <a:pt x="1013671" y="204095"/>
                    </a:cubicBezTo>
                    <a:cubicBezTo>
                      <a:pt x="997965" y="190548"/>
                      <a:pt x="988684" y="170584"/>
                      <a:pt x="988684" y="149907"/>
                    </a:cubicBezTo>
                    <a:cubicBezTo>
                      <a:pt x="988684" y="130657"/>
                      <a:pt x="995823" y="113545"/>
                      <a:pt x="1008673" y="99998"/>
                    </a:cubicBezTo>
                    <a:cubicBezTo>
                      <a:pt x="1030804" y="75756"/>
                      <a:pt x="1050794" y="55079"/>
                      <a:pt x="1072925" y="33689"/>
                    </a:cubicBezTo>
                    <a:cubicBezTo>
                      <a:pt x="1072925" y="33689"/>
                      <a:pt x="1072925" y="33689"/>
                      <a:pt x="1091486" y="15864"/>
                    </a:cubicBezTo>
                    <a:cubicBezTo>
                      <a:pt x="1091486" y="15864"/>
                      <a:pt x="1091486" y="15864"/>
                      <a:pt x="1104337" y="3743"/>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grpSp>
        <p:sp>
          <p:nvSpPr>
            <p:cNvPr id="33" name="Rectangle 32">
              <a:extLst>
                <a:ext uri="{FF2B5EF4-FFF2-40B4-BE49-F238E27FC236}">
                  <a16:creationId xmlns:a16="http://schemas.microsoft.com/office/drawing/2014/main" id="{8636FC47-CA6C-32F2-EE98-D492679931C1}"/>
                </a:ext>
              </a:extLst>
            </p:cNvPr>
            <p:cNvSpPr/>
            <p:nvPr/>
          </p:nvSpPr>
          <p:spPr>
            <a:xfrm>
              <a:off x="5196421" y="3429001"/>
              <a:ext cx="2201930" cy="1816656"/>
            </a:xfrm>
            <a:prstGeom prst="rect">
              <a:avLst/>
            </a:prstGeom>
            <a:solidFill>
              <a:schemeClr val="bg1">
                <a:alpha val="73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548640" rIns="0" rtlCol="0" anchor="t"/>
            <a:lstStyle/>
            <a:p>
              <a:pPr lvl="0" algn="ctr">
                <a:buFont typeface="Trebuchet MS" panose="020B0603020202020204" pitchFamily="34" charset="0"/>
                <a:buChar char="​"/>
                <a:defRPr/>
              </a:pPr>
              <a:r>
                <a:rPr lang="en-US" sz="1600" b="1">
                  <a:solidFill>
                    <a:srgbClr val="817A6C"/>
                  </a:solidFill>
                  <a:latin typeface="Arial" panose="020B0604020202020204" pitchFamily="34" charset="0"/>
                  <a:cs typeface="Arial" panose="020B0604020202020204" pitchFamily="34" charset="0"/>
                  <a:sym typeface="Trebuchet MS" panose="020B0603020202020204" pitchFamily="34" charset="0"/>
                </a:rPr>
                <a:t>Integrated value-add manufacturing</a:t>
              </a:r>
            </a:p>
          </p:txBody>
        </p:sp>
        <p:sp>
          <p:nvSpPr>
            <p:cNvPr id="35" name="Oval 34">
              <a:extLst>
                <a:ext uri="{FF2B5EF4-FFF2-40B4-BE49-F238E27FC236}">
                  <a16:creationId xmlns:a16="http://schemas.microsoft.com/office/drawing/2014/main" id="{01D8797E-0ABC-31D4-B4C0-87079B4C4FA1}"/>
                </a:ext>
              </a:extLst>
            </p:cNvPr>
            <p:cNvSpPr/>
            <p:nvPr/>
          </p:nvSpPr>
          <p:spPr>
            <a:xfrm>
              <a:off x="5638750" y="2276856"/>
              <a:ext cx="1317272" cy="1317272"/>
            </a:xfrm>
            <a:prstGeom prst="ellipse">
              <a:avLst/>
            </a:prstGeom>
            <a:solidFill>
              <a:srgbClr val="7F6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Group 35">
              <a:extLst>
                <a:ext uri="{FF2B5EF4-FFF2-40B4-BE49-F238E27FC236}">
                  <a16:creationId xmlns:a16="http://schemas.microsoft.com/office/drawing/2014/main" id="{5FC25A13-D13B-37C3-470B-FE8DCF176E3F}"/>
                </a:ext>
              </a:extLst>
            </p:cNvPr>
            <p:cNvGrpSpPr>
              <a:grpSpLocks noChangeAspect="1"/>
            </p:cNvGrpSpPr>
            <p:nvPr/>
          </p:nvGrpSpPr>
          <p:grpSpPr>
            <a:xfrm>
              <a:off x="5907816" y="2546299"/>
              <a:ext cx="779140" cy="778385"/>
              <a:chOff x="5273675" y="2606675"/>
              <a:chExt cx="1646238" cy="1644650"/>
            </a:xfrm>
          </p:grpSpPr>
          <p:sp>
            <p:nvSpPr>
              <p:cNvPr id="37" name="AutoShape 3">
                <a:extLst>
                  <a:ext uri="{FF2B5EF4-FFF2-40B4-BE49-F238E27FC236}">
                    <a16:creationId xmlns:a16="http://schemas.microsoft.com/office/drawing/2014/main" id="{9CC103D8-3C61-0E1F-B7CC-64BBFE7BD302}"/>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7">
                <a:extLst>
                  <a:ext uri="{FF2B5EF4-FFF2-40B4-BE49-F238E27FC236}">
                    <a16:creationId xmlns:a16="http://schemas.microsoft.com/office/drawing/2014/main" id="{17090867-9C80-839B-D99B-A0AEE203DA25}"/>
                  </a:ext>
                </a:extLst>
              </p:cNvPr>
              <p:cNvSpPr>
                <a:spLocks/>
              </p:cNvSpPr>
              <p:nvPr/>
            </p:nvSpPr>
            <p:spPr bwMode="auto">
              <a:xfrm>
                <a:off x="5460999" y="2793999"/>
                <a:ext cx="1263650" cy="1271588"/>
              </a:xfrm>
              <a:custGeom>
                <a:avLst/>
                <a:gdLst>
                  <a:gd name="connsiteX0" fmla="*/ 69057 w 1263650"/>
                  <a:gd name="connsiteY0" fmla="*/ 836613 h 1271588"/>
                  <a:gd name="connsiteX1" fmla="*/ 426244 w 1263650"/>
                  <a:gd name="connsiteY1" fmla="*/ 836613 h 1271588"/>
                  <a:gd name="connsiteX2" fmla="*/ 433388 w 1263650"/>
                  <a:gd name="connsiteY2" fmla="*/ 843774 h 1271588"/>
                  <a:gd name="connsiteX3" fmla="*/ 433388 w 1263650"/>
                  <a:gd name="connsiteY3" fmla="*/ 1202516 h 1271588"/>
                  <a:gd name="connsiteX4" fmla="*/ 426244 w 1263650"/>
                  <a:gd name="connsiteY4" fmla="*/ 1209676 h 1271588"/>
                  <a:gd name="connsiteX5" fmla="*/ 69057 w 1263650"/>
                  <a:gd name="connsiteY5" fmla="*/ 1209676 h 1271588"/>
                  <a:gd name="connsiteX6" fmla="*/ 61913 w 1263650"/>
                  <a:gd name="connsiteY6" fmla="*/ 1202516 h 1271588"/>
                  <a:gd name="connsiteX7" fmla="*/ 61913 w 1263650"/>
                  <a:gd name="connsiteY7" fmla="*/ 843774 h 1271588"/>
                  <a:gd name="connsiteX8" fmla="*/ 69057 w 1263650"/>
                  <a:gd name="connsiteY8" fmla="*/ 836613 h 1271588"/>
                  <a:gd name="connsiteX9" fmla="*/ 30163 w 1263650"/>
                  <a:gd name="connsiteY9" fmla="*/ 804863 h 1271588"/>
                  <a:gd name="connsiteX10" fmla="*/ 30163 w 1263650"/>
                  <a:gd name="connsiteY10" fmla="*/ 1239838 h 1271588"/>
                  <a:gd name="connsiteX11" fmla="*/ 465138 w 1263650"/>
                  <a:gd name="connsiteY11" fmla="*/ 1239838 h 1271588"/>
                  <a:gd name="connsiteX12" fmla="*/ 465138 w 1263650"/>
                  <a:gd name="connsiteY12" fmla="*/ 804863 h 1271588"/>
                  <a:gd name="connsiteX13" fmla="*/ 30163 w 1263650"/>
                  <a:gd name="connsiteY13" fmla="*/ 804863 h 1271588"/>
                  <a:gd name="connsiteX14" fmla="*/ 682507 w 1263650"/>
                  <a:gd name="connsiteY14" fmla="*/ 276225 h 1271588"/>
                  <a:gd name="connsiteX15" fmla="*/ 978069 w 1263650"/>
                  <a:gd name="connsiteY15" fmla="*/ 276225 h 1271588"/>
                  <a:gd name="connsiteX16" fmla="*/ 980925 w 1263650"/>
                  <a:gd name="connsiteY16" fmla="*/ 276225 h 1271588"/>
                  <a:gd name="connsiteX17" fmla="*/ 983780 w 1263650"/>
                  <a:gd name="connsiteY17" fmla="*/ 276939 h 1271588"/>
                  <a:gd name="connsiteX18" fmla="*/ 986636 w 1263650"/>
                  <a:gd name="connsiteY18" fmla="*/ 278367 h 1271588"/>
                  <a:gd name="connsiteX19" fmla="*/ 990920 w 1263650"/>
                  <a:gd name="connsiteY19" fmla="*/ 282651 h 1271588"/>
                  <a:gd name="connsiteX20" fmla="*/ 990920 w 1263650"/>
                  <a:gd name="connsiteY20" fmla="*/ 283365 h 1271588"/>
                  <a:gd name="connsiteX21" fmla="*/ 992347 w 1263650"/>
                  <a:gd name="connsiteY21" fmla="*/ 285508 h 1271588"/>
                  <a:gd name="connsiteX22" fmla="*/ 992347 w 1263650"/>
                  <a:gd name="connsiteY22" fmla="*/ 286222 h 1271588"/>
                  <a:gd name="connsiteX23" fmla="*/ 993061 w 1263650"/>
                  <a:gd name="connsiteY23" fmla="*/ 288364 h 1271588"/>
                  <a:gd name="connsiteX24" fmla="*/ 993061 w 1263650"/>
                  <a:gd name="connsiteY24" fmla="*/ 289078 h 1271588"/>
                  <a:gd name="connsiteX25" fmla="*/ 993775 w 1263650"/>
                  <a:gd name="connsiteY25" fmla="*/ 291934 h 1271588"/>
                  <a:gd name="connsiteX26" fmla="*/ 993775 w 1263650"/>
                  <a:gd name="connsiteY26" fmla="*/ 587544 h 1271588"/>
                  <a:gd name="connsiteX27" fmla="*/ 978069 w 1263650"/>
                  <a:gd name="connsiteY27" fmla="*/ 603253 h 1271588"/>
                  <a:gd name="connsiteX28" fmla="*/ 962363 w 1263650"/>
                  <a:gd name="connsiteY28" fmla="*/ 587544 h 1271588"/>
                  <a:gd name="connsiteX29" fmla="*/ 962363 w 1263650"/>
                  <a:gd name="connsiteY29" fmla="*/ 329778 h 1271588"/>
                  <a:gd name="connsiteX30" fmla="*/ 496888 w 1263650"/>
                  <a:gd name="connsiteY30" fmla="*/ 795328 h 1271588"/>
                  <a:gd name="connsiteX31" fmla="*/ 496888 w 1263650"/>
                  <a:gd name="connsiteY31" fmla="*/ 1255879 h 1271588"/>
                  <a:gd name="connsiteX32" fmla="*/ 481182 w 1263650"/>
                  <a:gd name="connsiteY32" fmla="*/ 1271588 h 1271588"/>
                  <a:gd name="connsiteX33" fmla="*/ 15706 w 1263650"/>
                  <a:gd name="connsiteY33" fmla="*/ 1271588 h 1271588"/>
                  <a:gd name="connsiteX34" fmla="*/ 0 w 1263650"/>
                  <a:gd name="connsiteY34" fmla="*/ 1255879 h 1271588"/>
                  <a:gd name="connsiteX35" fmla="*/ 0 w 1263650"/>
                  <a:gd name="connsiteY35" fmla="*/ 788901 h 1271588"/>
                  <a:gd name="connsiteX36" fmla="*/ 15706 w 1263650"/>
                  <a:gd name="connsiteY36" fmla="*/ 773193 h 1271588"/>
                  <a:gd name="connsiteX37" fmla="*/ 474756 w 1263650"/>
                  <a:gd name="connsiteY37" fmla="*/ 773193 h 1271588"/>
                  <a:gd name="connsiteX38" fmla="*/ 939517 w 1263650"/>
                  <a:gd name="connsiteY38" fmla="*/ 307643 h 1271588"/>
                  <a:gd name="connsiteX39" fmla="*/ 682507 w 1263650"/>
                  <a:gd name="connsiteY39" fmla="*/ 307643 h 1271588"/>
                  <a:gd name="connsiteX40" fmla="*/ 666800 w 1263650"/>
                  <a:gd name="connsiteY40" fmla="*/ 291934 h 1271588"/>
                  <a:gd name="connsiteX41" fmla="*/ 682507 w 1263650"/>
                  <a:gd name="connsiteY41" fmla="*/ 276225 h 1271588"/>
                  <a:gd name="connsiteX42" fmla="*/ 264324 w 1263650"/>
                  <a:gd name="connsiteY42" fmla="*/ 61913 h 1271588"/>
                  <a:gd name="connsiteX43" fmla="*/ 1193001 w 1263650"/>
                  <a:gd name="connsiteY43" fmla="*/ 61913 h 1271588"/>
                  <a:gd name="connsiteX44" fmla="*/ 1200150 w 1263650"/>
                  <a:gd name="connsiteY44" fmla="*/ 69052 h 1271588"/>
                  <a:gd name="connsiteX45" fmla="*/ 1200150 w 1263650"/>
                  <a:gd name="connsiteY45" fmla="*/ 999337 h 1271588"/>
                  <a:gd name="connsiteX46" fmla="*/ 1193001 w 1263650"/>
                  <a:gd name="connsiteY46" fmla="*/ 1006476 h 1271588"/>
                  <a:gd name="connsiteX47" fmla="*/ 527414 w 1263650"/>
                  <a:gd name="connsiteY47" fmla="*/ 1006476 h 1271588"/>
                  <a:gd name="connsiteX48" fmla="*/ 527414 w 1263650"/>
                  <a:gd name="connsiteY48" fmla="*/ 809424 h 1271588"/>
                  <a:gd name="connsiteX49" fmla="*/ 930627 w 1263650"/>
                  <a:gd name="connsiteY49" fmla="*/ 405325 h 1271588"/>
                  <a:gd name="connsiteX50" fmla="*/ 930627 w 1263650"/>
                  <a:gd name="connsiteY50" fmla="*/ 588098 h 1271588"/>
                  <a:gd name="connsiteX51" fmla="*/ 976381 w 1263650"/>
                  <a:gd name="connsiteY51" fmla="*/ 635219 h 1271588"/>
                  <a:gd name="connsiteX52" fmla="*/ 1024996 w 1263650"/>
                  <a:gd name="connsiteY52" fmla="*/ 586670 h 1271588"/>
                  <a:gd name="connsiteX53" fmla="*/ 1024996 w 1263650"/>
                  <a:gd name="connsiteY53" fmla="*/ 273244 h 1271588"/>
                  <a:gd name="connsiteX54" fmla="*/ 996399 w 1263650"/>
                  <a:gd name="connsiteY54" fmla="*/ 244685 h 1271588"/>
                  <a:gd name="connsiteX55" fmla="*/ 681836 w 1263650"/>
                  <a:gd name="connsiteY55" fmla="*/ 244685 h 1271588"/>
                  <a:gd name="connsiteX56" fmla="*/ 634651 w 1263650"/>
                  <a:gd name="connsiteY56" fmla="*/ 291807 h 1271588"/>
                  <a:gd name="connsiteX57" fmla="*/ 681836 w 1263650"/>
                  <a:gd name="connsiteY57" fmla="*/ 338928 h 1271588"/>
                  <a:gd name="connsiteX58" fmla="*/ 864139 w 1263650"/>
                  <a:gd name="connsiteY58" fmla="*/ 338928 h 1271588"/>
                  <a:gd name="connsiteX59" fmla="*/ 460926 w 1263650"/>
                  <a:gd name="connsiteY59" fmla="*/ 742312 h 1271588"/>
                  <a:gd name="connsiteX60" fmla="*/ 257175 w 1263650"/>
                  <a:gd name="connsiteY60" fmla="*/ 742312 h 1271588"/>
                  <a:gd name="connsiteX61" fmla="*/ 257175 w 1263650"/>
                  <a:gd name="connsiteY61" fmla="*/ 69052 h 1271588"/>
                  <a:gd name="connsiteX62" fmla="*/ 264324 w 1263650"/>
                  <a:gd name="connsiteY62" fmla="*/ 61913 h 1271588"/>
                  <a:gd name="connsiteX63" fmla="*/ 209410 w 1263650"/>
                  <a:gd name="connsiteY63" fmla="*/ 0 h 1271588"/>
                  <a:gd name="connsiteX64" fmla="*/ 1247915 w 1263650"/>
                  <a:gd name="connsiteY64" fmla="*/ 0 h 1271588"/>
                  <a:gd name="connsiteX65" fmla="*/ 1263650 w 1263650"/>
                  <a:gd name="connsiteY65" fmla="*/ 15690 h 1271588"/>
                  <a:gd name="connsiteX66" fmla="*/ 1263650 w 1263650"/>
                  <a:gd name="connsiteY66" fmla="*/ 1052698 h 1271588"/>
                  <a:gd name="connsiteX67" fmla="*/ 1247915 w 1263650"/>
                  <a:gd name="connsiteY67" fmla="*/ 1068388 h 1271588"/>
                  <a:gd name="connsiteX68" fmla="*/ 527685 w 1263650"/>
                  <a:gd name="connsiteY68" fmla="*/ 1068388 h 1271588"/>
                  <a:gd name="connsiteX69" fmla="*/ 527685 w 1263650"/>
                  <a:gd name="connsiteY69" fmla="*/ 1036294 h 1271588"/>
                  <a:gd name="connsiteX70" fmla="*/ 1232180 w 1263650"/>
                  <a:gd name="connsiteY70" fmla="*/ 1036294 h 1271588"/>
                  <a:gd name="connsiteX71" fmla="*/ 1232180 w 1263650"/>
                  <a:gd name="connsiteY71" fmla="*/ 31381 h 1271588"/>
                  <a:gd name="connsiteX72" fmla="*/ 225145 w 1263650"/>
                  <a:gd name="connsiteY72" fmla="*/ 31381 h 1271588"/>
                  <a:gd name="connsiteX73" fmla="*/ 225145 w 1263650"/>
                  <a:gd name="connsiteY73" fmla="*/ 741738 h 1271588"/>
                  <a:gd name="connsiteX74" fmla="*/ 193675 w 1263650"/>
                  <a:gd name="connsiteY74" fmla="*/ 741738 h 1271588"/>
                  <a:gd name="connsiteX75" fmla="*/ 193675 w 1263650"/>
                  <a:gd name="connsiteY75" fmla="*/ 15690 h 1271588"/>
                  <a:gd name="connsiteX76" fmla="*/ 209410 w 1263650"/>
                  <a:gd name="connsiteY76" fmla="*/ 0 h 127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263650" h="1271588">
                    <a:moveTo>
                      <a:pt x="69057" y="836613"/>
                    </a:moveTo>
                    <a:cubicBezTo>
                      <a:pt x="69057" y="836613"/>
                      <a:pt x="69057" y="836613"/>
                      <a:pt x="426244" y="836613"/>
                    </a:cubicBezTo>
                    <a:cubicBezTo>
                      <a:pt x="429816" y="836613"/>
                      <a:pt x="433388" y="840193"/>
                      <a:pt x="433388" y="843774"/>
                    </a:cubicBezTo>
                    <a:cubicBezTo>
                      <a:pt x="433388" y="843774"/>
                      <a:pt x="433388" y="843774"/>
                      <a:pt x="433388" y="1202516"/>
                    </a:cubicBezTo>
                    <a:cubicBezTo>
                      <a:pt x="433388" y="1206096"/>
                      <a:pt x="429816" y="1209676"/>
                      <a:pt x="426244" y="1209676"/>
                    </a:cubicBezTo>
                    <a:cubicBezTo>
                      <a:pt x="426244" y="1209676"/>
                      <a:pt x="426244" y="1209676"/>
                      <a:pt x="69057" y="1209676"/>
                    </a:cubicBezTo>
                    <a:cubicBezTo>
                      <a:pt x="64771" y="1209676"/>
                      <a:pt x="61913" y="1206096"/>
                      <a:pt x="61913" y="1202516"/>
                    </a:cubicBezTo>
                    <a:cubicBezTo>
                      <a:pt x="61913" y="1202516"/>
                      <a:pt x="61913" y="1202516"/>
                      <a:pt x="61913" y="843774"/>
                    </a:cubicBezTo>
                    <a:cubicBezTo>
                      <a:pt x="61913" y="840193"/>
                      <a:pt x="64771" y="836613"/>
                      <a:pt x="69057" y="836613"/>
                    </a:cubicBezTo>
                    <a:close/>
                    <a:moveTo>
                      <a:pt x="30163" y="804863"/>
                    </a:moveTo>
                    <a:cubicBezTo>
                      <a:pt x="30163" y="1239838"/>
                      <a:pt x="30163" y="1239838"/>
                      <a:pt x="30163" y="1239838"/>
                    </a:cubicBezTo>
                    <a:cubicBezTo>
                      <a:pt x="465138" y="1239838"/>
                      <a:pt x="465138" y="1239838"/>
                      <a:pt x="465138" y="1239838"/>
                    </a:cubicBezTo>
                    <a:cubicBezTo>
                      <a:pt x="465138" y="804863"/>
                      <a:pt x="465138" y="804863"/>
                      <a:pt x="465138" y="804863"/>
                    </a:cubicBezTo>
                    <a:cubicBezTo>
                      <a:pt x="30163" y="804863"/>
                      <a:pt x="30163" y="804863"/>
                      <a:pt x="30163" y="804863"/>
                    </a:cubicBezTo>
                    <a:close/>
                    <a:moveTo>
                      <a:pt x="682507" y="276225"/>
                    </a:moveTo>
                    <a:cubicBezTo>
                      <a:pt x="978069" y="276225"/>
                      <a:pt x="978069" y="276225"/>
                      <a:pt x="978069" y="276225"/>
                    </a:cubicBezTo>
                    <a:cubicBezTo>
                      <a:pt x="978783" y="276225"/>
                      <a:pt x="979497" y="276225"/>
                      <a:pt x="980925" y="276225"/>
                    </a:cubicBezTo>
                    <a:cubicBezTo>
                      <a:pt x="981639" y="276225"/>
                      <a:pt x="982353" y="276939"/>
                      <a:pt x="983780" y="276939"/>
                    </a:cubicBezTo>
                    <a:cubicBezTo>
                      <a:pt x="984494" y="277653"/>
                      <a:pt x="985208" y="277653"/>
                      <a:pt x="986636" y="278367"/>
                    </a:cubicBezTo>
                    <a:cubicBezTo>
                      <a:pt x="988064" y="279795"/>
                      <a:pt x="989492" y="281223"/>
                      <a:pt x="990920" y="282651"/>
                    </a:cubicBezTo>
                    <a:cubicBezTo>
                      <a:pt x="990920" y="283365"/>
                      <a:pt x="990920" y="283365"/>
                      <a:pt x="990920" y="283365"/>
                    </a:cubicBezTo>
                    <a:cubicBezTo>
                      <a:pt x="991633" y="284079"/>
                      <a:pt x="991633" y="284794"/>
                      <a:pt x="992347" y="285508"/>
                    </a:cubicBezTo>
                    <a:cubicBezTo>
                      <a:pt x="992347" y="285508"/>
                      <a:pt x="992347" y="285508"/>
                      <a:pt x="992347" y="286222"/>
                    </a:cubicBezTo>
                    <a:cubicBezTo>
                      <a:pt x="993061" y="286936"/>
                      <a:pt x="993061" y="287650"/>
                      <a:pt x="993061" y="288364"/>
                    </a:cubicBezTo>
                    <a:cubicBezTo>
                      <a:pt x="993061" y="288364"/>
                      <a:pt x="993061" y="288364"/>
                      <a:pt x="993061" y="289078"/>
                    </a:cubicBezTo>
                    <a:cubicBezTo>
                      <a:pt x="993061" y="289792"/>
                      <a:pt x="993775" y="290506"/>
                      <a:pt x="993775" y="291934"/>
                    </a:cubicBezTo>
                    <a:cubicBezTo>
                      <a:pt x="993775" y="587544"/>
                      <a:pt x="993775" y="587544"/>
                      <a:pt x="993775" y="587544"/>
                    </a:cubicBezTo>
                    <a:cubicBezTo>
                      <a:pt x="993775" y="596112"/>
                      <a:pt x="986636" y="603253"/>
                      <a:pt x="978069" y="603253"/>
                    </a:cubicBezTo>
                    <a:cubicBezTo>
                      <a:pt x="968788" y="603253"/>
                      <a:pt x="962363" y="596112"/>
                      <a:pt x="962363" y="587544"/>
                    </a:cubicBezTo>
                    <a:cubicBezTo>
                      <a:pt x="962363" y="329778"/>
                      <a:pt x="962363" y="329778"/>
                      <a:pt x="962363" y="329778"/>
                    </a:cubicBezTo>
                    <a:cubicBezTo>
                      <a:pt x="496888" y="795328"/>
                      <a:pt x="496888" y="795328"/>
                      <a:pt x="496888" y="795328"/>
                    </a:cubicBezTo>
                    <a:cubicBezTo>
                      <a:pt x="496888" y="1255879"/>
                      <a:pt x="496888" y="1255879"/>
                      <a:pt x="496888" y="1255879"/>
                    </a:cubicBezTo>
                    <a:cubicBezTo>
                      <a:pt x="496888" y="1264448"/>
                      <a:pt x="489749" y="1271588"/>
                      <a:pt x="481182" y="1271588"/>
                    </a:cubicBezTo>
                    <a:cubicBezTo>
                      <a:pt x="15706" y="1271588"/>
                      <a:pt x="15706" y="1271588"/>
                      <a:pt x="15706" y="1271588"/>
                    </a:cubicBezTo>
                    <a:cubicBezTo>
                      <a:pt x="6426" y="1271588"/>
                      <a:pt x="0" y="1264448"/>
                      <a:pt x="0" y="1255879"/>
                    </a:cubicBezTo>
                    <a:cubicBezTo>
                      <a:pt x="0" y="788901"/>
                      <a:pt x="0" y="788901"/>
                      <a:pt x="0" y="788901"/>
                    </a:cubicBezTo>
                    <a:cubicBezTo>
                      <a:pt x="0" y="780333"/>
                      <a:pt x="6426" y="773193"/>
                      <a:pt x="15706" y="773193"/>
                    </a:cubicBezTo>
                    <a:cubicBezTo>
                      <a:pt x="474756" y="773193"/>
                      <a:pt x="474756" y="773193"/>
                      <a:pt x="474756" y="773193"/>
                    </a:cubicBezTo>
                    <a:cubicBezTo>
                      <a:pt x="939517" y="307643"/>
                      <a:pt x="939517" y="307643"/>
                      <a:pt x="939517" y="307643"/>
                    </a:cubicBezTo>
                    <a:cubicBezTo>
                      <a:pt x="682507" y="307643"/>
                      <a:pt x="682507" y="307643"/>
                      <a:pt x="682507" y="307643"/>
                    </a:cubicBezTo>
                    <a:cubicBezTo>
                      <a:pt x="673940" y="307643"/>
                      <a:pt x="666800" y="300502"/>
                      <a:pt x="666800" y="291934"/>
                    </a:cubicBezTo>
                    <a:cubicBezTo>
                      <a:pt x="666800" y="282651"/>
                      <a:pt x="673940" y="276225"/>
                      <a:pt x="682507" y="276225"/>
                    </a:cubicBezTo>
                    <a:close/>
                    <a:moveTo>
                      <a:pt x="264324" y="61913"/>
                    </a:moveTo>
                    <a:cubicBezTo>
                      <a:pt x="1193001" y="61913"/>
                      <a:pt x="1193001" y="61913"/>
                      <a:pt x="1193001" y="61913"/>
                    </a:cubicBezTo>
                    <a:cubicBezTo>
                      <a:pt x="1196576" y="61913"/>
                      <a:pt x="1200150" y="65483"/>
                      <a:pt x="1200150" y="69052"/>
                    </a:cubicBezTo>
                    <a:cubicBezTo>
                      <a:pt x="1200150" y="999337"/>
                      <a:pt x="1200150" y="999337"/>
                      <a:pt x="1200150" y="999337"/>
                    </a:cubicBezTo>
                    <a:cubicBezTo>
                      <a:pt x="1200150" y="1002906"/>
                      <a:pt x="1196576" y="1006476"/>
                      <a:pt x="1193001" y="1006476"/>
                    </a:cubicBezTo>
                    <a:cubicBezTo>
                      <a:pt x="527414" y="1006476"/>
                      <a:pt x="527414" y="1006476"/>
                      <a:pt x="527414" y="1006476"/>
                    </a:cubicBezTo>
                    <a:cubicBezTo>
                      <a:pt x="527414" y="809424"/>
                      <a:pt x="527414" y="809424"/>
                      <a:pt x="527414" y="809424"/>
                    </a:cubicBezTo>
                    <a:cubicBezTo>
                      <a:pt x="930627" y="405325"/>
                      <a:pt x="930627" y="405325"/>
                      <a:pt x="930627" y="405325"/>
                    </a:cubicBezTo>
                    <a:cubicBezTo>
                      <a:pt x="930627" y="588098"/>
                      <a:pt x="930627" y="588098"/>
                      <a:pt x="930627" y="588098"/>
                    </a:cubicBezTo>
                    <a:cubicBezTo>
                      <a:pt x="930627" y="613800"/>
                      <a:pt x="950644" y="634505"/>
                      <a:pt x="976381" y="635219"/>
                    </a:cubicBezTo>
                    <a:cubicBezTo>
                      <a:pt x="1002833" y="635219"/>
                      <a:pt x="1024996" y="613086"/>
                      <a:pt x="1024996" y="586670"/>
                    </a:cubicBezTo>
                    <a:cubicBezTo>
                      <a:pt x="1024996" y="273244"/>
                      <a:pt x="1024996" y="273244"/>
                      <a:pt x="1024996" y="273244"/>
                    </a:cubicBezTo>
                    <a:cubicBezTo>
                      <a:pt x="1024996" y="256823"/>
                      <a:pt x="1012127" y="244685"/>
                      <a:pt x="996399" y="244685"/>
                    </a:cubicBezTo>
                    <a:cubicBezTo>
                      <a:pt x="681836" y="244685"/>
                      <a:pt x="681836" y="244685"/>
                      <a:pt x="681836" y="244685"/>
                    </a:cubicBezTo>
                    <a:cubicBezTo>
                      <a:pt x="656099" y="244685"/>
                      <a:pt x="634651" y="265390"/>
                      <a:pt x="634651" y="291807"/>
                    </a:cubicBezTo>
                    <a:cubicBezTo>
                      <a:pt x="634651" y="317509"/>
                      <a:pt x="656099" y="338928"/>
                      <a:pt x="681836" y="338928"/>
                    </a:cubicBezTo>
                    <a:cubicBezTo>
                      <a:pt x="864139" y="338928"/>
                      <a:pt x="864139" y="338928"/>
                      <a:pt x="864139" y="338928"/>
                    </a:cubicBezTo>
                    <a:cubicBezTo>
                      <a:pt x="460926" y="742312"/>
                      <a:pt x="460926" y="742312"/>
                      <a:pt x="460926" y="742312"/>
                    </a:cubicBezTo>
                    <a:cubicBezTo>
                      <a:pt x="257175" y="742312"/>
                      <a:pt x="257175" y="742312"/>
                      <a:pt x="257175" y="742312"/>
                    </a:cubicBezTo>
                    <a:cubicBezTo>
                      <a:pt x="257175" y="69052"/>
                      <a:pt x="257175" y="69052"/>
                      <a:pt x="257175" y="69052"/>
                    </a:cubicBezTo>
                    <a:cubicBezTo>
                      <a:pt x="257175" y="65483"/>
                      <a:pt x="260035" y="61913"/>
                      <a:pt x="264324" y="61913"/>
                    </a:cubicBezTo>
                    <a:close/>
                    <a:moveTo>
                      <a:pt x="209410" y="0"/>
                    </a:moveTo>
                    <a:cubicBezTo>
                      <a:pt x="1247915" y="0"/>
                      <a:pt x="1247915" y="0"/>
                      <a:pt x="1247915" y="0"/>
                    </a:cubicBezTo>
                    <a:cubicBezTo>
                      <a:pt x="1256498" y="0"/>
                      <a:pt x="1263650" y="6419"/>
                      <a:pt x="1263650" y="15690"/>
                    </a:cubicBezTo>
                    <a:cubicBezTo>
                      <a:pt x="1263650" y="1052698"/>
                      <a:pt x="1263650" y="1052698"/>
                      <a:pt x="1263650" y="1052698"/>
                    </a:cubicBezTo>
                    <a:cubicBezTo>
                      <a:pt x="1263650" y="1061256"/>
                      <a:pt x="1256498" y="1068388"/>
                      <a:pt x="1247915" y="1068388"/>
                    </a:cubicBezTo>
                    <a:cubicBezTo>
                      <a:pt x="527685" y="1068388"/>
                      <a:pt x="527685" y="1068388"/>
                      <a:pt x="527685" y="1068388"/>
                    </a:cubicBezTo>
                    <a:cubicBezTo>
                      <a:pt x="527685" y="1036294"/>
                      <a:pt x="527685" y="1036294"/>
                      <a:pt x="527685" y="1036294"/>
                    </a:cubicBezTo>
                    <a:cubicBezTo>
                      <a:pt x="1232180" y="1036294"/>
                      <a:pt x="1232180" y="1036294"/>
                      <a:pt x="1232180" y="1036294"/>
                    </a:cubicBezTo>
                    <a:cubicBezTo>
                      <a:pt x="1232180" y="31381"/>
                      <a:pt x="1232180" y="31381"/>
                      <a:pt x="1232180" y="31381"/>
                    </a:cubicBezTo>
                    <a:cubicBezTo>
                      <a:pt x="225145" y="31381"/>
                      <a:pt x="225145" y="31381"/>
                      <a:pt x="225145" y="31381"/>
                    </a:cubicBezTo>
                    <a:cubicBezTo>
                      <a:pt x="225145" y="741738"/>
                      <a:pt x="225145" y="741738"/>
                      <a:pt x="225145" y="741738"/>
                    </a:cubicBezTo>
                    <a:cubicBezTo>
                      <a:pt x="193675" y="741738"/>
                      <a:pt x="193675" y="741738"/>
                      <a:pt x="193675" y="741738"/>
                    </a:cubicBezTo>
                    <a:cubicBezTo>
                      <a:pt x="193675" y="15690"/>
                      <a:pt x="193675" y="15690"/>
                      <a:pt x="193675" y="15690"/>
                    </a:cubicBezTo>
                    <a:cubicBezTo>
                      <a:pt x="193675" y="6419"/>
                      <a:pt x="200827" y="0"/>
                      <a:pt x="20941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grpSp>
        <p:sp>
          <p:nvSpPr>
            <p:cNvPr id="40" name="Rectangle 39">
              <a:extLst>
                <a:ext uri="{FF2B5EF4-FFF2-40B4-BE49-F238E27FC236}">
                  <a16:creationId xmlns:a16="http://schemas.microsoft.com/office/drawing/2014/main" id="{B1A0EA1B-C137-F6F6-9D99-652B3867965C}"/>
                </a:ext>
              </a:extLst>
            </p:cNvPr>
            <p:cNvSpPr/>
            <p:nvPr/>
          </p:nvSpPr>
          <p:spPr>
            <a:xfrm>
              <a:off x="9868856" y="3429001"/>
              <a:ext cx="2201930" cy="1816656"/>
            </a:xfrm>
            <a:prstGeom prst="rect">
              <a:avLst/>
            </a:prstGeom>
            <a:solidFill>
              <a:schemeClr val="bg1">
                <a:alpha val="73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548640" rIns="0" rtlCol="0" anchor="t"/>
            <a:lstStyle/>
            <a:p>
              <a:pPr lvl="0" algn="ctr">
                <a:buFont typeface="Trebuchet MS" panose="020B0603020202020204" pitchFamily="34" charset="0"/>
                <a:buChar char="​"/>
                <a:defRPr/>
              </a:pPr>
              <a:r>
                <a:rPr lang="en-US" sz="1600" b="1">
                  <a:solidFill>
                    <a:srgbClr val="817A6C"/>
                  </a:solidFill>
                  <a:latin typeface="Arial" panose="020B0604020202020204" pitchFamily="34" charset="0"/>
                  <a:cs typeface="Arial" panose="020B0604020202020204" pitchFamily="34" charset="0"/>
                  <a:sym typeface="Trebuchet MS" panose="020B0603020202020204" pitchFamily="34" charset="0"/>
                </a:rPr>
                <a:t>Sustainability-led growth</a:t>
              </a:r>
            </a:p>
          </p:txBody>
        </p:sp>
        <p:sp>
          <p:nvSpPr>
            <p:cNvPr id="42" name="Oval 41">
              <a:extLst>
                <a:ext uri="{FF2B5EF4-FFF2-40B4-BE49-F238E27FC236}">
                  <a16:creationId xmlns:a16="http://schemas.microsoft.com/office/drawing/2014/main" id="{EA527156-39B1-9767-0A76-A1498E5922AD}"/>
                </a:ext>
              </a:extLst>
            </p:cNvPr>
            <p:cNvSpPr/>
            <p:nvPr/>
          </p:nvSpPr>
          <p:spPr>
            <a:xfrm>
              <a:off x="10311187" y="2276856"/>
              <a:ext cx="1317272" cy="1317272"/>
            </a:xfrm>
            <a:prstGeom prst="ellipse">
              <a:avLst/>
            </a:prstGeom>
            <a:solidFill>
              <a:srgbClr val="7F600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3" name="Group 42">
              <a:extLst>
                <a:ext uri="{FF2B5EF4-FFF2-40B4-BE49-F238E27FC236}">
                  <a16:creationId xmlns:a16="http://schemas.microsoft.com/office/drawing/2014/main" id="{10F8595C-939A-9638-A093-C2F8C4ABCC37}"/>
                </a:ext>
              </a:extLst>
            </p:cNvPr>
            <p:cNvGrpSpPr>
              <a:grpSpLocks noChangeAspect="1"/>
            </p:cNvGrpSpPr>
            <p:nvPr/>
          </p:nvGrpSpPr>
          <p:grpSpPr>
            <a:xfrm>
              <a:off x="10580254" y="2546299"/>
              <a:ext cx="779137" cy="778385"/>
              <a:chOff x="5273675" y="2606675"/>
              <a:chExt cx="1646238" cy="1644650"/>
            </a:xfrm>
          </p:grpSpPr>
          <p:sp>
            <p:nvSpPr>
              <p:cNvPr id="44" name="AutoShape 3">
                <a:extLst>
                  <a:ext uri="{FF2B5EF4-FFF2-40B4-BE49-F238E27FC236}">
                    <a16:creationId xmlns:a16="http://schemas.microsoft.com/office/drawing/2014/main" id="{0D918057-2D86-00BF-7C40-7BA8943431CF}"/>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5">
                <a:extLst>
                  <a:ext uri="{FF2B5EF4-FFF2-40B4-BE49-F238E27FC236}">
                    <a16:creationId xmlns:a16="http://schemas.microsoft.com/office/drawing/2014/main" id="{4B24A7D0-193C-4189-9C5F-281276F36FFF}"/>
                  </a:ext>
                </a:extLst>
              </p:cNvPr>
              <p:cNvSpPr>
                <a:spLocks/>
              </p:cNvSpPr>
              <p:nvPr/>
            </p:nvSpPr>
            <p:spPr bwMode="auto">
              <a:xfrm>
                <a:off x="5557838" y="2952750"/>
                <a:ext cx="1077913" cy="1122363"/>
              </a:xfrm>
              <a:custGeom>
                <a:avLst/>
                <a:gdLst>
                  <a:gd name="connsiteX0" fmla="*/ 609600 w 1077913"/>
                  <a:gd name="connsiteY0" fmla="*/ 873125 h 1122363"/>
                  <a:gd name="connsiteX1" fmla="*/ 885583 w 1077913"/>
                  <a:gd name="connsiteY1" fmla="*/ 1005577 h 1122363"/>
                  <a:gd name="connsiteX2" fmla="*/ 1062184 w 1077913"/>
                  <a:gd name="connsiteY2" fmla="*/ 1091030 h 1122363"/>
                  <a:gd name="connsiteX3" fmla="*/ 1077913 w 1077913"/>
                  <a:gd name="connsiteY3" fmla="*/ 1106697 h 1122363"/>
                  <a:gd name="connsiteX4" fmla="*/ 1062184 w 1077913"/>
                  <a:gd name="connsiteY4" fmla="*/ 1122363 h 1122363"/>
                  <a:gd name="connsiteX5" fmla="*/ 866994 w 1077913"/>
                  <a:gd name="connsiteY5" fmla="*/ 1031213 h 1122363"/>
                  <a:gd name="connsiteX6" fmla="*/ 611030 w 1077913"/>
                  <a:gd name="connsiteY6" fmla="*/ 904458 h 1122363"/>
                  <a:gd name="connsiteX7" fmla="*/ 609600 w 1077913"/>
                  <a:gd name="connsiteY7" fmla="*/ 873125 h 1122363"/>
                  <a:gd name="connsiteX8" fmla="*/ 468313 w 1077913"/>
                  <a:gd name="connsiteY8" fmla="*/ 873125 h 1122363"/>
                  <a:gd name="connsiteX9" fmla="*/ 466883 w 1077913"/>
                  <a:gd name="connsiteY9" fmla="*/ 904458 h 1122363"/>
                  <a:gd name="connsiteX10" fmla="*/ 210920 w 1077913"/>
                  <a:gd name="connsiteY10" fmla="*/ 1031213 h 1122363"/>
                  <a:gd name="connsiteX11" fmla="*/ 15730 w 1077913"/>
                  <a:gd name="connsiteY11" fmla="*/ 1122363 h 1122363"/>
                  <a:gd name="connsiteX12" fmla="*/ 0 w 1077913"/>
                  <a:gd name="connsiteY12" fmla="*/ 1106697 h 1122363"/>
                  <a:gd name="connsiteX13" fmla="*/ 15730 w 1077913"/>
                  <a:gd name="connsiteY13" fmla="*/ 1091030 h 1122363"/>
                  <a:gd name="connsiteX14" fmla="*/ 192330 w 1077913"/>
                  <a:gd name="connsiteY14" fmla="*/ 1005577 h 1122363"/>
                  <a:gd name="connsiteX15" fmla="*/ 468313 w 1077913"/>
                  <a:gd name="connsiteY15" fmla="*/ 873125 h 1122363"/>
                  <a:gd name="connsiteX16" fmla="*/ 924312 w 1077913"/>
                  <a:gd name="connsiteY16" fmla="*/ 304800 h 1122363"/>
                  <a:gd name="connsiteX17" fmla="*/ 897158 w 1077913"/>
                  <a:gd name="connsiteY17" fmla="*/ 534499 h 1122363"/>
                  <a:gd name="connsiteX18" fmla="*/ 754244 w 1077913"/>
                  <a:gd name="connsiteY18" fmla="*/ 619125 h 1122363"/>
                  <a:gd name="connsiteX19" fmla="*/ 829274 w 1077913"/>
                  <a:gd name="connsiteY19" fmla="*/ 508187 h 1122363"/>
                  <a:gd name="connsiteX20" fmla="*/ 836420 w 1077913"/>
                  <a:gd name="connsiteY20" fmla="*/ 475474 h 1122363"/>
                  <a:gd name="connsiteX21" fmla="*/ 817127 w 1077913"/>
                  <a:gd name="connsiteY21" fmla="*/ 447028 h 1122363"/>
                  <a:gd name="connsiteX22" fmla="*/ 792117 w 1077913"/>
                  <a:gd name="connsiteY22" fmla="*/ 439206 h 1122363"/>
                  <a:gd name="connsiteX23" fmla="*/ 757817 w 1077913"/>
                  <a:gd name="connsiteY23" fmla="*/ 456273 h 1122363"/>
                  <a:gd name="connsiteX24" fmla="*/ 672784 w 1077913"/>
                  <a:gd name="connsiteY24" fmla="*/ 562233 h 1122363"/>
                  <a:gd name="connsiteX25" fmla="*/ 710656 w 1077913"/>
                  <a:gd name="connsiteY25" fmla="*/ 400093 h 1122363"/>
                  <a:gd name="connsiteX26" fmla="*/ 924312 w 1077913"/>
                  <a:gd name="connsiteY26" fmla="*/ 304800 h 1122363"/>
                  <a:gd name="connsiteX27" fmla="*/ 158342 w 1077913"/>
                  <a:gd name="connsiteY27" fmla="*/ 304800 h 1122363"/>
                  <a:gd name="connsiteX28" fmla="*/ 370454 w 1077913"/>
                  <a:gd name="connsiteY28" fmla="*/ 400309 h 1122363"/>
                  <a:gd name="connsiteX29" fmla="*/ 408306 w 1077913"/>
                  <a:gd name="connsiteY29" fmla="*/ 564243 h 1122363"/>
                  <a:gd name="connsiteX30" fmla="*/ 322604 w 1077913"/>
                  <a:gd name="connsiteY30" fmla="*/ 456617 h 1122363"/>
                  <a:gd name="connsiteX31" fmla="*/ 287609 w 1077913"/>
                  <a:gd name="connsiteY31" fmla="*/ 439511 h 1122363"/>
                  <a:gd name="connsiteX32" fmla="*/ 263327 w 1077913"/>
                  <a:gd name="connsiteY32" fmla="*/ 447351 h 1122363"/>
                  <a:gd name="connsiteX33" fmla="*/ 243330 w 1077913"/>
                  <a:gd name="connsiteY33" fmla="*/ 475861 h 1122363"/>
                  <a:gd name="connsiteX34" fmla="*/ 250472 w 1077913"/>
                  <a:gd name="connsiteY34" fmla="*/ 508648 h 1122363"/>
                  <a:gd name="connsiteX35" fmla="*/ 324746 w 1077913"/>
                  <a:gd name="connsiteY35" fmla="*/ 619125 h 1122363"/>
                  <a:gd name="connsiteX36" fmla="*/ 185481 w 1077913"/>
                  <a:gd name="connsiteY36" fmla="*/ 535020 h 1122363"/>
                  <a:gd name="connsiteX37" fmla="*/ 158342 w 1077913"/>
                  <a:gd name="connsiteY37" fmla="*/ 304800 h 1122363"/>
                  <a:gd name="connsiteX38" fmla="*/ 539114 w 1077913"/>
                  <a:gd name="connsiteY38" fmla="*/ 234077 h 1122363"/>
                  <a:gd name="connsiteX39" fmla="*/ 551988 w 1077913"/>
                  <a:gd name="connsiteY39" fmla="*/ 246940 h 1122363"/>
                  <a:gd name="connsiteX40" fmla="*/ 572729 w 1077913"/>
                  <a:gd name="connsiteY40" fmla="*/ 740012 h 1122363"/>
                  <a:gd name="connsiteX41" fmla="*/ 782290 w 1077913"/>
                  <a:gd name="connsiteY41" fmla="*/ 475611 h 1122363"/>
                  <a:gd name="connsiteX42" fmla="*/ 799456 w 1077913"/>
                  <a:gd name="connsiteY42" fmla="*/ 473468 h 1122363"/>
                  <a:gd name="connsiteX43" fmla="*/ 803747 w 1077913"/>
                  <a:gd name="connsiteY43" fmla="*/ 490618 h 1122363"/>
                  <a:gd name="connsiteX44" fmla="*/ 666424 w 1077913"/>
                  <a:gd name="connsiteY44" fmla="*/ 694993 h 1122363"/>
                  <a:gd name="connsiteX45" fmla="*/ 647113 w 1077913"/>
                  <a:gd name="connsiteY45" fmla="*/ 723577 h 1122363"/>
                  <a:gd name="connsiteX46" fmla="*/ 599677 w 1077913"/>
                  <a:gd name="connsiteY46" fmla="*/ 793949 h 1122363"/>
                  <a:gd name="connsiteX47" fmla="*/ 576571 w 1077913"/>
                  <a:gd name="connsiteY47" fmla="*/ 828228 h 1122363"/>
                  <a:gd name="connsiteX48" fmla="*/ 576406 w 1077913"/>
                  <a:gd name="connsiteY48" fmla="*/ 826568 h 1122363"/>
                  <a:gd name="connsiteX49" fmla="*/ 576305 w 1077913"/>
                  <a:gd name="connsiteY49" fmla="*/ 828622 h 1122363"/>
                  <a:gd name="connsiteX50" fmla="*/ 576571 w 1077913"/>
                  <a:gd name="connsiteY50" fmla="*/ 828228 h 1122363"/>
                  <a:gd name="connsiteX51" fmla="*/ 577110 w 1077913"/>
                  <a:gd name="connsiteY51" fmla="*/ 833625 h 1122363"/>
                  <a:gd name="connsiteX52" fmla="*/ 582742 w 1077913"/>
                  <a:gd name="connsiteY52" fmla="*/ 954392 h 1122363"/>
                  <a:gd name="connsiteX53" fmla="*/ 540544 w 1077913"/>
                  <a:gd name="connsiteY53" fmla="*/ 1000126 h 1122363"/>
                  <a:gd name="connsiteX54" fmla="*/ 495485 w 1077913"/>
                  <a:gd name="connsiteY54" fmla="*/ 957965 h 1122363"/>
                  <a:gd name="connsiteX55" fmla="*/ 495485 w 1077913"/>
                  <a:gd name="connsiteY55" fmla="*/ 954392 h 1122363"/>
                  <a:gd name="connsiteX56" fmla="*/ 497631 w 1077913"/>
                  <a:gd name="connsiteY56" fmla="*/ 917233 h 1122363"/>
                  <a:gd name="connsiteX57" fmla="*/ 501922 w 1077913"/>
                  <a:gd name="connsiteY57" fmla="*/ 824335 h 1122363"/>
                  <a:gd name="connsiteX58" fmla="*/ 435406 w 1077913"/>
                  <a:gd name="connsiteY58" fmla="*/ 725720 h 1122363"/>
                  <a:gd name="connsiteX59" fmla="*/ 276626 w 1077913"/>
                  <a:gd name="connsiteY59" fmla="*/ 490618 h 1122363"/>
                  <a:gd name="connsiteX60" fmla="*/ 280918 w 1077913"/>
                  <a:gd name="connsiteY60" fmla="*/ 473468 h 1122363"/>
                  <a:gd name="connsiteX61" fmla="*/ 298083 w 1077913"/>
                  <a:gd name="connsiteY61" fmla="*/ 475611 h 1122363"/>
                  <a:gd name="connsiteX62" fmla="*/ 506929 w 1077913"/>
                  <a:gd name="connsiteY62" fmla="*/ 737869 h 1122363"/>
                  <a:gd name="connsiteX63" fmla="*/ 525525 w 1077913"/>
                  <a:gd name="connsiteY63" fmla="*/ 246940 h 1122363"/>
                  <a:gd name="connsiteX64" fmla="*/ 539114 w 1077913"/>
                  <a:gd name="connsiteY64" fmla="*/ 234077 h 1122363"/>
                  <a:gd name="connsiteX65" fmla="*/ 539393 w 1077913"/>
                  <a:gd name="connsiteY65" fmla="*/ 0 h 1122363"/>
                  <a:gd name="connsiteX66" fmla="*/ 661987 w 1077913"/>
                  <a:gd name="connsiteY66" fmla="*/ 216276 h 1122363"/>
                  <a:gd name="connsiteX67" fmla="*/ 589286 w 1077913"/>
                  <a:gd name="connsiteY67" fmla="*/ 382588 h 1122363"/>
                  <a:gd name="connsiteX68" fmla="*/ 583584 w 1077913"/>
                  <a:gd name="connsiteY68" fmla="*/ 245541 h 1122363"/>
                  <a:gd name="connsiteX69" fmla="*/ 583584 w 1077913"/>
                  <a:gd name="connsiteY69" fmla="*/ 244114 h 1122363"/>
                  <a:gd name="connsiteX70" fmla="*/ 583584 w 1077913"/>
                  <a:gd name="connsiteY70" fmla="*/ 242686 h 1122363"/>
                  <a:gd name="connsiteX71" fmla="*/ 541532 w 1077913"/>
                  <a:gd name="connsiteY71" fmla="*/ 202714 h 1122363"/>
                  <a:gd name="connsiteX72" fmla="*/ 537968 w 1077913"/>
                  <a:gd name="connsiteY72" fmla="*/ 202714 h 1122363"/>
                  <a:gd name="connsiteX73" fmla="*/ 495203 w 1077913"/>
                  <a:gd name="connsiteY73" fmla="*/ 244828 h 1122363"/>
                  <a:gd name="connsiteX74" fmla="*/ 494490 w 1077913"/>
                  <a:gd name="connsiteY74" fmla="*/ 245541 h 1122363"/>
                  <a:gd name="connsiteX75" fmla="*/ 489501 w 1077913"/>
                  <a:gd name="connsiteY75" fmla="*/ 382588 h 1122363"/>
                  <a:gd name="connsiteX76" fmla="*/ 417512 w 1077913"/>
                  <a:gd name="connsiteY76" fmla="*/ 216276 h 1122363"/>
                  <a:gd name="connsiteX77" fmla="*/ 539393 w 1077913"/>
                  <a:gd name="connsiteY77" fmla="*/ 0 h 112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077913" h="1122363">
                    <a:moveTo>
                      <a:pt x="609600" y="873125"/>
                    </a:moveTo>
                    <a:cubicBezTo>
                      <a:pt x="722567" y="892352"/>
                      <a:pt x="811940" y="953593"/>
                      <a:pt x="885583" y="1005577"/>
                    </a:cubicBezTo>
                    <a:cubicBezTo>
                      <a:pt x="950646" y="1051152"/>
                      <a:pt x="1007130" y="1091030"/>
                      <a:pt x="1062184" y="1091030"/>
                    </a:cubicBezTo>
                    <a:cubicBezTo>
                      <a:pt x="1071478" y="1091030"/>
                      <a:pt x="1077913" y="1098151"/>
                      <a:pt x="1077913" y="1106697"/>
                    </a:cubicBezTo>
                    <a:cubicBezTo>
                      <a:pt x="1077913" y="1115242"/>
                      <a:pt x="1071478" y="1122363"/>
                      <a:pt x="1062184" y="1122363"/>
                    </a:cubicBezTo>
                    <a:cubicBezTo>
                      <a:pt x="997120" y="1122363"/>
                      <a:pt x="937062" y="1080349"/>
                      <a:pt x="866994" y="1031213"/>
                    </a:cubicBezTo>
                    <a:cubicBezTo>
                      <a:pt x="794066" y="979941"/>
                      <a:pt x="713273" y="923685"/>
                      <a:pt x="611030" y="904458"/>
                    </a:cubicBezTo>
                    <a:cubicBezTo>
                      <a:pt x="610315" y="893064"/>
                      <a:pt x="610315" y="882383"/>
                      <a:pt x="609600" y="873125"/>
                    </a:cubicBezTo>
                    <a:close/>
                    <a:moveTo>
                      <a:pt x="468313" y="873125"/>
                    </a:moveTo>
                    <a:cubicBezTo>
                      <a:pt x="467598" y="888079"/>
                      <a:pt x="466883" y="898049"/>
                      <a:pt x="466883" y="904458"/>
                    </a:cubicBezTo>
                    <a:cubicBezTo>
                      <a:pt x="364641" y="923685"/>
                      <a:pt x="283848" y="979941"/>
                      <a:pt x="210920" y="1031213"/>
                    </a:cubicBezTo>
                    <a:cubicBezTo>
                      <a:pt x="140852" y="1080349"/>
                      <a:pt x="80793" y="1122363"/>
                      <a:pt x="15730" y="1122363"/>
                    </a:cubicBezTo>
                    <a:cubicBezTo>
                      <a:pt x="6435" y="1122363"/>
                      <a:pt x="0" y="1115242"/>
                      <a:pt x="0" y="1106697"/>
                    </a:cubicBezTo>
                    <a:cubicBezTo>
                      <a:pt x="0" y="1098151"/>
                      <a:pt x="6435" y="1091030"/>
                      <a:pt x="15730" y="1091030"/>
                    </a:cubicBezTo>
                    <a:cubicBezTo>
                      <a:pt x="70783" y="1091030"/>
                      <a:pt x="127267" y="1051152"/>
                      <a:pt x="192330" y="1005577"/>
                    </a:cubicBezTo>
                    <a:cubicBezTo>
                      <a:pt x="265973" y="953593"/>
                      <a:pt x="354631" y="892352"/>
                      <a:pt x="468313" y="873125"/>
                    </a:cubicBezTo>
                    <a:close/>
                    <a:moveTo>
                      <a:pt x="924312" y="304800"/>
                    </a:moveTo>
                    <a:cubicBezTo>
                      <a:pt x="924312" y="304800"/>
                      <a:pt x="963613" y="444895"/>
                      <a:pt x="897158" y="534499"/>
                    </a:cubicBezTo>
                    <a:cubicBezTo>
                      <a:pt x="860715" y="582857"/>
                      <a:pt x="801406" y="607035"/>
                      <a:pt x="754244" y="619125"/>
                    </a:cubicBezTo>
                    <a:cubicBezTo>
                      <a:pt x="754244" y="619125"/>
                      <a:pt x="754244" y="619125"/>
                      <a:pt x="829274" y="508187"/>
                    </a:cubicBezTo>
                    <a:cubicBezTo>
                      <a:pt x="835705" y="498942"/>
                      <a:pt x="838564" y="486852"/>
                      <a:pt x="836420" y="475474"/>
                    </a:cubicBezTo>
                    <a:cubicBezTo>
                      <a:pt x="834276" y="464096"/>
                      <a:pt x="827130" y="453429"/>
                      <a:pt x="817127" y="447028"/>
                    </a:cubicBezTo>
                    <a:cubicBezTo>
                      <a:pt x="809981" y="442050"/>
                      <a:pt x="801406" y="439206"/>
                      <a:pt x="792117" y="439206"/>
                    </a:cubicBezTo>
                    <a:cubicBezTo>
                      <a:pt x="778540" y="439206"/>
                      <a:pt x="766392" y="445606"/>
                      <a:pt x="757817" y="456273"/>
                    </a:cubicBezTo>
                    <a:cubicBezTo>
                      <a:pt x="724233" y="497519"/>
                      <a:pt x="696364" y="533077"/>
                      <a:pt x="672784" y="562233"/>
                    </a:cubicBezTo>
                    <a:cubicBezTo>
                      <a:pt x="669925" y="513876"/>
                      <a:pt x="674927" y="449873"/>
                      <a:pt x="710656" y="400093"/>
                    </a:cubicBezTo>
                    <a:cubicBezTo>
                      <a:pt x="777111" y="310489"/>
                      <a:pt x="924312" y="304800"/>
                      <a:pt x="924312" y="304800"/>
                    </a:cubicBezTo>
                    <a:close/>
                    <a:moveTo>
                      <a:pt x="158342" y="304800"/>
                    </a:moveTo>
                    <a:cubicBezTo>
                      <a:pt x="158342" y="304800"/>
                      <a:pt x="304035" y="310502"/>
                      <a:pt x="370454" y="400309"/>
                    </a:cubicBezTo>
                    <a:cubicBezTo>
                      <a:pt x="406877" y="450915"/>
                      <a:pt x="411162" y="516488"/>
                      <a:pt x="408306" y="564243"/>
                    </a:cubicBezTo>
                    <a:cubicBezTo>
                      <a:pt x="331888" y="468734"/>
                      <a:pt x="323318" y="457329"/>
                      <a:pt x="322604" y="456617"/>
                    </a:cubicBezTo>
                    <a:cubicBezTo>
                      <a:pt x="314034" y="445925"/>
                      <a:pt x="301178" y="439511"/>
                      <a:pt x="287609" y="439511"/>
                    </a:cubicBezTo>
                    <a:cubicBezTo>
                      <a:pt x="279039" y="439511"/>
                      <a:pt x="270469" y="442362"/>
                      <a:pt x="263327" y="447351"/>
                    </a:cubicBezTo>
                    <a:cubicBezTo>
                      <a:pt x="252614" y="453766"/>
                      <a:pt x="246186" y="464457"/>
                      <a:pt x="243330" y="475861"/>
                    </a:cubicBezTo>
                    <a:cubicBezTo>
                      <a:pt x="241187" y="487265"/>
                      <a:pt x="244044" y="499382"/>
                      <a:pt x="250472" y="508648"/>
                    </a:cubicBezTo>
                    <a:cubicBezTo>
                      <a:pt x="280467" y="553551"/>
                      <a:pt x="304749" y="589902"/>
                      <a:pt x="324746" y="619125"/>
                    </a:cubicBezTo>
                    <a:cubicBezTo>
                      <a:pt x="278325" y="607008"/>
                      <a:pt x="220476" y="582774"/>
                      <a:pt x="185481" y="535020"/>
                    </a:cubicBezTo>
                    <a:cubicBezTo>
                      <a:pt x="119062" y="445213"/>
                      <a:pt x="158342" y="304800"/>
                      <a:pt x="158342" y="304800"/>
                    </a:cubicBezTo>
                    <a:close/>
                    <a:moveTo>
                      <a:pt x="539114" y="234077"/>
                    </a:moveTo>
                    <a:cubicBezTo>
                      <a:pt x="546266" y="234077"/>
                      <a:pt x="551273" y="239794"/>
                      <a:pt x="551988" y="246940"/>
                    </a:cubicBezTo>
                    <a:cubicBezTo>
                      <a:pt x="551988" y="246940"/>
                      <a:pt x="564862" y="542784"/>
                      <a:pt x="572729" y="740012"/>
                    </a:cubicBezTo>
                    <a:cubicBezTo>
                      <a:pt x="573445" y="739298"/>
                      <a:pt x="586319" y="722862"/>
                      <a:pt x="782290" y="475611"/>
                    </a:cubicBezTo>
                    <a:cubicBezTo>
                      <a:pt x="786581" y="469895"/>
                      <a:pt x="794449" y="469180"/>
                      <a:pt x="799456" y="473468"/>
                    </a:cubicBezTo>
                    <a:cubicBezTo>
                      <a:pt x="806608" y="477041"/>
                      <a:pt x="808038" y="485616"/>
                      <a:pt x="803747" y="490618"/>
                    </a:cubicBezTo>
                    <a:cubicBezTo>
                      <a:pt x="803747" y="490618"/>
                      <a:pt x="803747" y="490618"/>
                      <a:pt x="666424" y="694993"/>
                    </a:cubicBezTo>
                    <a:cubicBezTo>
                      <a:pt x="666424" y="694993"/>
                      <a:pt x="666424" y="694993"/>
                      <a:pt x="647113" y="723577"/>
                    </a:cubicBezTo>
                    <a:cubicBezTo>
                      <a:pt x="647113" y="723577"/>
                      <a:pt x="647113" y="723577"/>
                      <a:pt x="599677" y="793949"/>
                    </a:cubicBezTo>
                    <a:lnTo>
                      <a:pt x="576571" y="828228"/>
                    </a:lnTo>
                    <a:lnTo>
                      <a:pt x="576406" y="826568"/>
                    </a:lnTo>
                    <a:cubicBezTo>
                      <a:pt x="576305" y="826836"/>
                      <a:pt x="576305" y="828622"/>
                      <a:pt x="576305" y="828622"/>
                    </a:cubicBezTo>
                    <a:lnTo>
                      <a:pt x="576571" y="828228"/>
                    </a:lnTo>
                    <a:lnTo>
                      <a:pt x="577110" y="833625"/>
                    </a:lnTo>
                    <a:cubicBezTo>
                      <a:pt x="577915" y="845773"/>
                      <a:pt x="579524" y="877215"/>
                      <a:pt x="582742" y="954392"/>
                    </a:cubicBezTo>
                    <a:cubicBezTo>
                      <a:pt x="583458" y="978688"/>
                      <a:pt x="564862" y="998697"/>
                      <a:pt x="540544" y="1000126"/>
                    </a:cubicBezTo>
                    <a:cubicBezTo>
                      <a:pt x="516942" y="1000126"/>
                      <a:pt x="496916" y="982261"/>
                      <a:pt x="495485" y="957965"/>
                    </a:cubicBezTo>
                    <a:cubicBezTo>
                      <a:pt x="495485" y="957250"/>
                      <a:pt x="495485" y="955821"/>
                      <a:pt x="495485" y="954392"/>
                    </a:cubicBezTo>
                    <a:cubicBezTo>
                      <a:pt x="495485" y="954392"/>
                      <a:pt x="495485" y="954392"/>
                      <a:pt x="497631" y="917233"/>
                    </a:cubicBezTo>
                    <a:cubicBezTo>
                      <a:pt x="497631" y="917233"/>
                      <a:pt x="497631" y="945817"/>
                      <a:pt x="501922" y="824335"/>
                    </a:cubicBezTo>
                    <a:cubicBezTo>
                      <a:pt x="501922" y="824335"/>
                      <a:pt x="501922" y="824335"/>
                      <a:pt x="435406" y="725720"/>
                    </a:cubicBezTo>
                    <a:cubicBezTo>
                      <a:pt x="435406" y="725720"/>
                      <a:pt x="416810" y="698566"/>
                      <a:pt x="276626" y="490618"/>
                    </a:cubicBezTo>
                    <a:cubicBezTo>
                      <a:pt x="273050" y="485616"/>
                      <a:pt x="274481" y="477041"/>
                      <a:pt x="280918" y="473468"/>
                    </a:cubicBezTo>
                    <a:cubicBezTo>
                      <a:pt x="286640" y="469180"/>
                      <a:pt x="293792" y="469895"/>
                      <a:pt x="298083" y="475611"/>
                    </a:cubicBezTo>
                    <a:cubicBezTo>
                      <a:pt x="298083" y="475611"/>
                      <a:pt x="303805" y="483472"/>
                      <a:pt x="506929" y="737869"/>
                    </a:cubicBezTo>
                    <a:cubicBezTo>
                      <a:pt x="511935" y="644256"/>
                      <a:pt x="519803" y="402008"/>
                      <a:pt x="525525" y="246940"/>
                    </a:cubicBezTo>
                    <a:cubicBezTo>
                      <a:pt x="526240" y="239080"/>
                      <a:pt x="531962" y="233363"/>
                      <a:pt x="539114" y="234077"/>
                    </a:cubicBezTo>
                    <a:close/>
                    <a:moveTo>
                      <a:pt x="539393" y="0"/>
                    </a:moveTo>
                    <a:cubicBezTo>
                      <a:pt x="539393" y="0"/>
                      <a:pt x="661987" y="97074"/>
                      <a:pt x="661987" y="216276"/>
                    </a:cubicBezTo>
                    <a:cubicBezTo>
                      <a:pt x="661987" y="282658"/>
                      <a:pt x="623498" y="342616"/>
                      <a:pt x="589286" y="382588"/>
                    </a:cubicBezTo>
                    <a:cubicBezTo>
                      <a:pt x="586435" y="303358"/>
                      <a:pt x="583584" y="246969"/>
                      <a:pt x="583584" y="245541"/>
                    </a:cubicBezTo>
                    <a:cubicBezTo>
                      <a:pt x="583584" y="245541"/>
                      <a:pt x="583584" y="245541"/>
                      <a:pt x="583584" y="244114"/>
                    </a:cubicBezTo>
                    <a:cubicBezTo>
                      <a:pt x="583584" y="244114"/>
                      <a:pt x="583584" y="244114"/>
                      <a:pt x="583584" y="242686"/>
                    </a:cubicBezTo>
                    <a:cubicBezTo>
                      <a:pt x="580733" y="220559"/>
                      <a:pt x="562914" y="204142"/>
                      <a:pt x="541532" y="202714"/>
                    </a:cubicBezTo>
                    <a:cubicBezTo>
                      <a:pt x="540106" y="202714"/>
                      <a:pt x="539393" y="202714"/>
                      <a:pt x="537968" y="202714"/>
                    </a:cubicBezTo>
                    <a:cubicBezTo>
                      <a:pt x="515160" y="202714"/>
                      <a:pt x="495915" y="221273"/>
                      <a:pt x="495203" y="244828"/>
                    </a:cubicBezTo>
                    <a:cubicBezTo>
                      <a:pt x="495203" y="244828"/>
                      <a:pt x="495203" y="244828"/>
                      <a:pt x="494490" y="245541"/>
                    </a:cubicBezTo>
                    <a:cubicBezTo>
                      <a:pt x="493064" y="286941"/>
                      <a:pt x="491639" y="333337"/>
                      <a:pt x="489501" y="382588"/>
                    </a:cubicBezTo>
                    <a:cubicBezTo>
                      <a:pt x="456001" y="342616"/>
                      <a:pt x="417512" y="283372"/>
                      <a:pt x="417512" y="216276"/>
                    </a:cubicBezTo>
                    <a:cubicBezTo>
                      <a:pt x="417512" y="97074"/>
                      <a:pt x="539393" y="0"/>
                      <a:pt x="53939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sp>
        <p:nvSpPr>
          <p:cNvPr id="101" name="TextBox 100">
            <a:extLst>
              <a:ext uri="{FF2B5EF4-FFF2-40B4-BE49-F238E27FC236}">
                <a16:creationId xmlns:a16="http://schemas.microsoft.com/office/drawing/2014/main" id="{6C3D9A0C-5061-0C49-02E9-40582A55311B}"/>
              </a:ext>
            </a:extLst>
          </p:cNvPr>
          <p:cNvSpPr txBox="1"/>
          <p:nvPr/>
        </p:nvSpPr>
        <p:spPr>
          <a:xfrm>
            <a:off x="82314" y="5150165"/>
            <a:ext cx="2218762" cy="707886"/>
          </a:xfrm>
          <a:prstGeom prst="rect">
            <a:avLst/>
          </a:prstGeom>
          <a:noFill/>
        </p:spPr>
        <p:txBody>
          <a:bodyPr wrap="square">
            <a:spAutoFit/>
          </a:bodyPr>
          <a:lstStyle/>
          <a:p>
            <a:pPr algn="ctr"/>
            <a:r>
              <a:rPr lang="en-US" sz="2000" b="1" dirty="0">
                <a:solidFill>
                  <a:srgbClr val="7F6000"/>
                </a:solidFill>
                <a:latin typeface="Arial" panose="020B0604020202020204" pitchFamily="34" charset="0"/>
                <a:cs typeface="Arial" panose="020B0604020202020204" pitchFamily="34" charset="0"/>
              </a:rPr>
              <a:t> Strategic Objectives</a:t>
            </a:r>
          </a:p>
        </p:txBody>
      </p:sp>
      <p:sp>
        <p:nvSpPr>
          <p:cNvPr id="102" name="Rounded Rectangle 20">
            <a:extLst>
              <a:ext uri="{FF2B5EF4-FFF2-40B4-BE49-F238E27FC236}">
                <a16:creationId xmlns:a16="http://schemas.microsoft.com/office/drawing/2014/main" id="{63CC8FE9-F279-62C5-6381-AD26D5F58D45}"/>
              </a:ext>
            </a:extLst>
          </p:cNvPr>
          <p:cNvSpPr/>
          <p:nvPr/>
        </p:nvSpPr>
        <p:spPr>
          <a:xfrm>
            <a:off x="4580304" y="2237731"/>
            <a:ext cx="1724858" cy="1283465"/>
          </a:xfrm>
          <a:prstGeom prst="roundRect">
            <a:avLst>
              <a:gd name="adj" fmla="val 5451"/>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0" rIns="45720" bIns="45720" numCol="1" spcCol="0" rtlCol="0" fromWordArt="0" anchor="ctr" anchorCtr="0" forceAA="0" compatLnSpc="1">
            <a:prstTxWarp prst="textNoShape">
              <a:avLst/>
            </a:prstTxWarp>
            <a:noAutofit/>
          </a:bodyPr>
          <a:lstStyle/>
          <a:p>
            <a:pPr algn="ctr"/>
            <a:r>
              <a:rPr lang="en-US" sz="1400" b="1" dirty="0">
                <a:solidFill>
                  <a:srgbClr val="817A6C"/>
                </a:solidFill>
                <a:latin typeface="Arial" panose="020B0604020202020204" pitchFamily="34" charset="0"/>
                <a:cs typeface="Arial" panose="020B0604020202020204" pitchFamily="34" charset="0"/>
                <a:sym typeface="Arial" panose="020B0604020202020204" pitchFamily="34" charset="0"/>
              </a:rPr>
              <a:t>Pharmaceuticals</a:t>
            </a:r>
          </a:p>
          <a:p>
            <a:pPr algn="ctr"/>
            <a:endParaRPr lang="en-US" sz="1400" b="1" dirty="0">
              <a:solidFill>
                <a:srgbClr val="817A6C"/>
              </a:solidFill>
              <a:latin typeface="Arial" panose="020B0604020202020204" pitchFamily="34" charset="0"/>
              <a:cs typeface="Arial" panose="020B0604020202020204" pitchFamily="34" charset="0"/>
              <a:sym typeface="Arial" panose="020B0604020202020204" pitchFamily="34" charset="0"/>
            </a:endParaRPr>
          </a:p>
        </p:txBody>
      </p:sp>
      <p:grpSp>
        <p:nvGrpSpPr>
          <p:cNvPr id="103" name="Group 102">
            <a:extLst>
              <a:ext uri="{FF2B5EF4-FFF2-40B4-BE49-F238E27FC236}">
                <a16:creationId xmlns:a16="http://schemas.microsoft.com/office/drawing/2014/main" id="{8450118B-E9FF-447A-6D87-AAEA8D7E4706}"/>
              </a:ext>
            </a:extLst>
          </p:cNvPr>
          <p:cNvGrpSpPr>
            <a:grpSpLocks noChangeAspect="1"/>
          </p:cNvGrpSpPr>
          <p:nvPr/>
        </p:nvGrpSpPr>
        <p:grpSpPr>
          <a:xfrm rot="16200000">
            <a:off x="5196438" y="2362710"/>
            <a:ext cx="413256" cy="384292"/>
            <a:chOff x="5273801" y="2606040"/>
            <a:chExt cx="1644396" cy="1645920"/>
          </a:xfrm>
        </p:grpSpPr>
        <p:sp>
          <p:nvSpPr>
            <p:cNvPr id="104" name="AutoShape 13">
              <a:extLst>
                <a:ext uri="{FF2B5EF4-FFF2-40B4-BE49-F238E27FC236}">
                  <a16:creationId xmlns:a16="http://schemas.microsoft.com/office/drawing/2014/main" id="{5C6F3ED2-FF55-3304-6571-89FA6E80C10D}"/>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nvGrpSpPr>
            <p:cNvPr id="105" name="Group 104">
              <a:extLst>
                <a:ext uri="{FF2B5EF4-FFF2-40B4-BE49-F238E27FC236}">
                  <a16:creationId xmlns:a16="http://schemas.microsoft.com/office/drawing/2014/main" id="{6D5F65CC-A53B-CD26-88AF-179F569BD276}"/>
                </a:ext>
              </a:extLst>
            </p:cNvPr>
            <p:cNvGrpSpPr/>
            <p:nvPr/>
          </p:nvGrpSpPr>
          <p:grpSpPr>
            <a:xfrm>
              <a:off x="5856350" y="2854069"/>
              <a:ext cx="480822" cy="1172719"/>
              <a:chOff x="5856350" y="2854071"/>
              <a:chExt cx="480822" cy="1172718"/>
            </a:xfrm>
          </p:grpSpPr>
          <p:sp>
            <p:nvSpPr>
              <p:cNvPr id="106" name="Freeform 15">
                <a:extLst>
                  <a:ext uri="{FF2B5EF4-FFF2-40B4-BE49-F238E27FC236}">
                    <a16:creationId xmlns:a16="http://schemas.microsoft.com/office/drawing/2014/main" id="{453A82D7-B1CC-9DFE-B9E2-EBB7642D1F6B}"/>
                  </a:ext>
                </a:extLst>
              </p:cNvPr>
              <p:cNvSpPr>
                <a:spLocks/>
              </p:cNvSpPr>
              <p:nvPr/>
            </p:nvSpPr>
            <p:spPr bwMode="auto">
              <a:xfrm>
                <a:off x="5856350" y="2854071"/>
                <a:ext cx="480822" cy="606933"/>
              </a:xfrm>
              <a:custGeom>
                <a:avLst/>
                <a:gdLst>
                  <a:gd name="T0" fmla="*/ 39 w 674"/>
                  <a:gd name="T1" fmla="*/ 795 h 850"/>
                  <a:gd name="T2" fmla="*/ 340 w 674"/>
                  <a:gd name="T3" fmla="*/ 850 h 850"/>
                  <a:gd name="T4" fmla="*/ 641 w 674"/>
                  <a:gd name="T5" fmla="*/ 795 h 850"/>
                  <a:gd name="T6" fmla="*/ 674 w 674"/>
                  <a:gd name="T7" fmla="*/ 777 h 850"/>
                  <a:gd name="T8" fmla="*/ 674 w 674"/>
                  <a:gd name="T9" fmla="*/ 338 h 850"/>
                  <a:gd name="T10" fmla="*/ 337 w 674"/>
                  <a:gd name="T11" fmla="*/ 0 h 850"/>
                  <a:gd name="T12" fmla="*/ 0 w 674"/>
                  <a:gd name="T13" fmla="*/ 338 h 850"/>
                  <a:gd name="T14" fmla="*/ 0 w 674"/>
                  <a:gd name="T15" fmla="*/ 774 h 850"/>
                  <a:gd name="T16" fmla="*/ 39 w 674"/>
                  <a:gd name="T17" fmla="*/ 795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4" h="850">
                    <a:moveTo>
                      <a:pt x="39" y="795"/>
                    </a:moveTo>
                    <a:cubicBezTo>
                      <a:pt x="118" y="830"/>
                      <a:pt x="225" y="850"/>
                      <a:pt x="340" y="850"/>
                    </a:cubicBezTo>
                    <a:cubicBezTo>
                      <a:pt x="454" y="850"/>
                      <a:pt x="561" y="830"/>
                      <a:pt x="641" y="795"/>
                    </a:cubicBezTo>
                    <a:cubicBezTo>
                      <a:pt x="653" y="789"/>
                      <a:pt x="664" y="783"/>
                      <a:pt x="674" y="777"/>
                    </a:cubicBezTo>
                    <a:cubicBezTo>
                      <a:pt x="674" y="338"/>
                      <a:pt x="674" y="338"/>
                      <a:pt x="674" y="338"/>
                    </a:cubicBezTo>
                    <a:cubicBezTo>
                      <a:pt x="674" y="151"/>
                      <a:pt x="523" y="0"/>
                      <a:pt x="337" y="0"/>
                    </a:cubicBezTo>
                    <a:cubicBezTo>
                      <a:pt x="151" y="0"/>
                      <a:pt x="0" y="151"/>
                      <a:pt x="0" y="338"/>
                    </a:cubicBezTo>
                    <a:cubicBezTo>
                      <a:pt x="0" y="774"/>
                      <a:pt x="0" y="774"/>
                      <a:pt x="0" y="774"/>
                    </a:cubicBezTo>
                    <a:cubicBezTo>
                      <a:pt x="11" y="782"/>
                      <a:pt x="24" y="788"/>
                      <a:pt x="39" y="795"/>
                    </a:cubicBezTo>
                    <a:close/>
                  </a:path>
                </a:pathLst>
              </a:custGeom>
              <a:solidFill>
                <a:srgbClr val="424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Arial" panose="020B0604020202020204" pitchFamily="34" charset="0"/>
                  <a:cs typeface="Arial" panose="020B0604020202020204" pitchFamily="34" charset="0"/>
                </a:endParaRPr>
              </a:p>
            </p:txBody>
          </p:sp>
          <p:sp>
            <p:nvSpPr>
              <p:cNvPr id="107" name="Freeform 16">
                <a:extLst>
                  <a:ext uri="{FF2B5EF4-FFF2-40B4-BE49-F238E27FC236}">
                    <a16:creationId xmlns:a16="http://schemas.microsoft.com/office/drawing/2014/main" id="{AB77AF5C-3218-ABB7-AEDA-F68BCB3C7B17}"/>
                  </a:ext>
                </a:extLst>
              </p:cNvPr>
              <p:cNvSpPr>
                <a:spLocks noEditPoints="1"/>
              </p:cNvSpPr>
              <p:nvPr/>
            </p:nvSpPr>
            <p:spPr bwMode="auto">
              <a:xfrm>
                <a:off x="5856350" y="3445383"/>
                <a:ext cx="480822" cy="581406"/>
              </a:xfrm>
              <a:custGeom>
                <a:avLst/>
                <a:gdLst>
                  <a:gd name="T0" fmla="*/ 44 w 674"/>
                  <a:gd name="T1" fmla="*/ 65 h 814"/>
                  <a:gd name="T2" fmla="*/ 340 w 674"/>
                  <a:gd name="T3" fmla="*/ 109 h 814"/>
                  <a:gd name="T4" fmla="*/ 630 w 674"/>
                  <a:gd name="T5" fmla="*/ 66 h 814"/>
                  <a:gd name="T6" fmla="*/ 630 w 674"/>
                  <a:gd name="T7" fmla="*/ 477 h 814"/>
                  <a:gd name="T8" fmla="*/ 337 w 674"/>
                  <a:gd name="T9" fmla="*/ 770 h 814"/>
                  <a:gd name="T10" fmla="*/ 44 w 674"/>
                  <a:gd name="T11" fmla="*/ 477 h 814"/>
                  <a:gd name="T12" fmla="*/ 44 w 674"/>
                  <a:gd name="T13" fmla="*/ 65 h 814"/>
                  <a:gd name="T14" fmla="*/ 0 w 674"/>
                  <a:gd name="T15" fmla="*/ 0 h 814"/>
                  <a:gd name="T16" fmla="*/ 0 w 674"/>
                  <a:gd name="T17" fmla="*/ 477 h 814"/>
                  <a:gd name="T18" fmla="*/ 337 w 674"/>
                  <a:gd name="T19" fmla="*/ 814 h 814"/>
                  <a:gd name="T20" fmla="*/ 674 w 674"/>
                  <a:gd name="T21" fmla="*/ 477 h 814"/>
                  <a:gd name="T22" fmla="*/ 674 w 674"/>
                  <a:gd name="T23" fmla="*/ 2 h 814"/>
                  <a:gd name="T24" fmla="*/ 672 w 674"/>
                  <a:gd name="T25" fmla="*/ 3 h 814"/>
                  <a:gd name="T26" fmla="*/ 340 w 674"/>
                  <a:gd name="T27" fmla="*/ 65 h 814"/>
                  <a:gd name="T28" fmla="*/ 7 w 674"/>
                  <a:gd name="T29" fmla="*/ 3 h 814"/>
                  <a:gd name="T30" fmla="*/ 0 w 674"/>
                  <a:gd name="T31" fmla="*/ 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4" h="814">
                    <a:moveTo>
                      <a:pt x="44" y="65"/>
                    </a:moveTo>
                    <a:cubicBezTo>
                      <a:pt x="130" y="94"/>
                      <a:pt x="232" y="109"/>
                      <a:pt x="340" y="109"/>
                    </a:cubicBezTo>
                    <a:cubicBezTo>
                      <a:pt x="445" y="109"/>
                      <a:pt x="545" y="94"/>
                      <a:pt x="630" y="66"/>
                    </a:cubicBezTo>
                    <a:cubicBezTo>
                      <a:pt x="630" y="477"/>
                      <a:pt x="630" y="477"/>
                      <a:pt x="630" y="477"/>
                    </a:cubicBezTo>
                    <a:cubicBezTo>
                      <a:pt x="630" y="639"/>
                      <a:pt x="499" y="770"/>
                      <a:pt x="337" y="770"/>
                    </a:cubicBezTo>
                    <a:cubicBezTo>
                      <a:pt x="175" y="770"/>
                      <a:pt x="44" y="639"/>
                      <a:pt x="44" y="477"/>
                    </a:cubicBezTo>
                    <a:cubicBezTo>
                      <a:pt x="44" y="65"/>
                      <a:pt x="44" y="65"/>
                      <a:pt x="44" y="65"/>
                    </a:cubicBezTo>
                    <a:moveTo>
                      <a:pt x="0" y="0"/>
                    </a:moveTo>
                    <a:cubicBezTo>
                      <a:pt x="0" y="477"/>
                      <a:pt x="0" y="477"/>
                      <a:pt x="0" y="477"/>
                    </a:cubicBezTo>
                    <a:cubicBezTo>
                      <a:pt x="0" y="663"/>
                      <a:pt x="151" y="814"/>
                      <a:pt x="337" y="814"/>
                    </a:cubicBezTo>
                    <a:cubicBezTo>
                      <a:pt x="523" y="814"/>
                      <a:pt x="674" y="663"/>
                      <a:pt x="674" y="477"/>
                    </a:cubicBezTo>
                    <a:cubicBezTo>
                      <a:pt x="674" y="2"/>
                      <a:pt x="674" y="2"/>
                      <a:pt x="674" y="2"/>
                    </a:cubicBezTo>
                    <a:cubicBezTo>
                      <a:pt x="674" y="2"/>
                      <a:pt x="673" y="3"/>
                      <a:pt x="672" y="3"/>
                    </a:cubicBezTo>
                    <a:cubicBezTo>
                      <a:pt x="583" y="43"/>
                      <a:pt x="465" y="65"/>
                      <a:pt x="340" y="65"/>
                    </a:cubicBezTo>
                    <a:cubicBezTo>
                      <a:pt x="215" y="65"/>
                      <a:pt x="96" y="43"/>
                      <a:pt x="7" y="3"/>
                    </a:cubicBezTo>
                    <a:cubicBezTo>
                      <a:pt x="4" y="2"/>
                      <a:pt x="2" y="1"/>
                      <a:pt x="0" y="0"/>
                    </a:cubicBezTo>
                    <a:close/>
                  </a:path>
                </a:pathLst>
              </a:custGeom>
              <a:solidFill>
                <a:srgbClr val="2126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Arial" panose="020B0604020202020204" pitchFamily="34" charset="0"/>
                  <a:cs typeface="Arial" panose="020B0604020202020204" pitchFamily="34" charset="0"/>
                </a:endParaRPr>
              </a:p>
            </p:txBody>
          </p:sp>
        </p:grpSp>
      </p:grpSp>
      <p:sp>
        <p:nvSpPr>
          <p:cNvPr id="108" name="Rounded Rectangle 7">
            <a:extLst>
              <a:ext uri="{FF2B5EF4-FFF2-40B4-BE49-F238E27FC236}">
                <a16:creationId xmlns:a16="http://schemas.microsoft.com/office/drawing/2014/main" id="{E17D640A-DD25-2AF4-30E3-418E1962BD82}"/>
              </a:ext>
            </a:extLst>
          </p:cNvPr>
          <p:cNvSpPr/>
          <p:nvPr/>
        </p:nvSpPr>
        <p:spPr>
          <a:xfrm>
            <a:off x="10124092" y="2237731"/>
            <a:ext cx="1724858" cy="1283465"/>
          </a:xfrm>
          <a:prstGeom prst="roundRect">
            <a:avLst>
              <a:gd name="adj" fmla="val 5451"/>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0" rIns="45720" bIns="45720" numCol="1" spcCol="0" rtlCol="0" fromWordArt="0" anchor="ctr" anchorCtr="0" forceAA="0" compatLnSpc="1">
            <a:prstTxWarp prst="textNoShape">
              <a:avLst/>
            </a:prstTxWarp>
            <a:noAutofit/>
          </a:bodyPr>
          <a:lstStyle/>
          <a:p>
            <a:pPr algn="ctr"/>
            <a:r>
              <a:rPr lang="en-US" sz="1400" b="1" dirty="0">
                <a:solidFill>
                  <a:srgbClr val="817A6C"/>
                </a:solidFill>
                <a:latin typeface="Arial" panose="020B0604020202020204" pitchFamily="34" charset="0"/>
                <a:cs typeface="Arial" panose="020B0604020202020204" pitchFamily="34" charset="0"/>
                <a:sym typeface="Arial" panose="020B0604020202020204" pitchFamily="34" charset="0"/>
              </a:rPr>
              <a:t>Metals, minerals and downstream products</a:t>
            </a:r>
          </a:p>
        </p:txBody>
      </p:sp>
      <p:grpSp>
        <p:nvGrpSpPr>
          <p:cNvPr id="109" name="bcgIcons_Mining">
            <a:extLst>
              <a:ext uri="{FF2B5EF4-FFF2-40B4-BE49-F238E27FC236}">
                <a16:creationId xmlns:a16="http://schemas.microsoft.com/office/drawing/2014/main" id="{4FD80BDC-6A10-F9C1-96B6-B8D62695F6BB}"/>
              </a:ext>
            </a:extLst>
          </p:cNvPr>
          <p:cNvGrpSpPr>
            <a:grpSpLocks noChangeAspect="1"/>
          </p:cNvGrpSpPr>
          <p:nvPr/>
        </p:nvGrpSpPr>
        <p:grpSpPr bwMode="auto">
          <a:xfrm>
            <a:off x="10722977" y="2348227"/>
            <a:ext cx="349007" cy="317598"/>
            <a:chOff x="1682" y="0"/>
            <a:chExt cx="4316" cy="4320"/>
          </a:xfrm>
        </p:grpSpPr>
        <p:sp>
          <p:nvSpPr>
            <p:cNvPr id="110" name="AutoShape 38">
              <a:extLst>
                <a:ext uri="{FF2B5EF4-FFF2-40B4-BE49-F238E27FC236}">
                  <a16:creationId xmlns:a16="http://schemas.microsoft.com/office/drawing/2014/main" id="{9D58F3C4-867E-E11D-2FDC-C873499259AC}"/>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11" name="Freeform 40">
              <a:extLst>
                <a:ext uri="{FF2B5EF4-FFF2-40B4-BE49-F238E27FC236}">
                  <a16:creationId xmlns:a16="http://schemas.microsoft.com/office/drawing/2014/main" id="{F5CF0FD4-F65F-8208-8210-A7BCF55601A9}"/>
                </a:ext>
              </a:extLst>
            </p:cNvPr>
            <p:cNvSpPr>
              <a:spLocks noEditPoints="1"/>
            </p:cNvSpPr>
            <p:nvPr/>
          </p:nvSpPr>
          <p:spPr bwMode="auto">
            <a:xfrm>
              <a:off x="2036" y="1254"/>
              <a:ext cx="3520" cy="2421"/>
            </a:xfrm>
            <a:custGeom>
              <a:avLst/>
              <a:gdLst>
                <a:gd name="T0" fmla="*/ 615 w 1879"/>
                <a:gd name="T1" fmla="*/ 821 h 1291"/>
                <a:gd name="T2" fmla="*/ 526 w 1879"/>
                <a:gd name="T3" fmla="*/ 276 h 1291"/>
                <a:gd name="T4" fmla="*/ 571 w 1879"/>
                <a:gd name="T5" fmla="*/ 826 h 1291"/>
                <a:gd name="T6" fmla="*/ 596 w 1879"/>
                <a:gd name="T7" fmla="*/ 845 h 1291"/>
                <a:gd name="T8" fmla="*/ 917 w 1879"/>
                <a:gd name="T9" fmla="*/ 823 h 1291"/>
                <a:gd name="T10" fmla="*/ 875 w 1879"/>
                <a:gd name="T11" fmla="*/ 276 h 1291"/>
                <a:gd name="T12" fmla="*/ 873 w 1879"/>
                <a:gd name="T13" fmla="*/ 824 h 1291"/>
                <a:gd name="T14" fmla="*/ 896 w 1879"/>
                <a:gd name="T15" fmla="*/ 845 h 1291"/>
                <a:gd name="T16" fmla="*/ 1245 w 1879"/>
                <a:gd name="T17" fmla="*/ 299 h 1291"/>
                <a:gd name="T18" fmla="*/ 1201 w 1879"/>
                <a:gd name="T19" fmla="*/ 297 h 1291"/>
                <a:gd name="T20" fmla="*/ 1196 w 1879"/>
                <a:gd name="T21" fmla="*/ 845 h 1291"/>
                <a:gd name="T22" fmla="*/ 1219 w 1879"/>
                <a:gd name="T23" fmla="*/ 824 h 1291"/>
                <a:gd name="T24" fmla="*/ 1593 w 1879"/>
                <a:gd name="T25" fmla="*/ 301 h 1291"/>
                <a:gd name="T26" fmla="*/ 1549 w 1879"/>
                <a:gd name="T27" fmla="*/ 295 h 1291"/>
                <a:gd name="T28" fmla="*/ 1497 w 1879"/>
                <a:gd name="T29" fmla="*/ 845 h 1291"/>
                <a:gd name="T30" fmla="*/ 1521 w 1879"/>
                <a:gd name="T31" fmla="*/ 826 h 1291"/>
                <a:gd name="T32" fmla="*/ 152 w 1879"/>
                <a:gd name="T33" fmla="*/ 439 h 1291"/>
                <a:gd name="T34" fmla="*/ 19 w 1879"/>
                <a:gd name="T35" fmla="*/ 3 h 1291"/>
                <a:gd name="T36" fmla="*/ 115 w 1879"/>
                <a:gd name="T37" fmla="*/ 472 h 1291"/>
                <a:gd name="T38" fmla="*/ 136 w 1879"/>
                <a:gd name="T39" fmla="*/ 488 h 1291"/>
                <a:gd name="T40" fmla="*/ 253 w 1879"/>
                <a:gd name="T41" fmla="*/ 459 h 1291"/>
                <a:gd name="T42" fmla="*/ 732 w 1879"/>
                <a:gd name="T43" fmla="*/ 1291 h 1291"/>
                <a:gd name="T44" fmla="*/ 732 w 1879"/>
                <a:gd name="T45" fmla="*/ 928 h 1291"/>
                <a:gd name="T46" fmla="*/ 732 w 1879"/>
                <a:gd name="T47" fmla="*/ 1291 h 1291"/>
                <a:gd name="T48" fmla="*/ 594 w 1879"/>
                <a:gd name="T49" fmla="*/ 1110 h 1291"/>
                <a:gd name="T50" fmla="*/ 869 w 1879"/>
                <a:gd name="T51" fmla="*/ 1110 h 1291"/>
                <a:gd name="T52" fmla="*/ 1116 w 1879"/>
                <a:gd name="T53" fmla="*/ 1091 h 1291"/>
                <a:gd name="T54" fmla="*/ 948 w 1879"/>
                <a:gd name="T55" fmla="*/ 1047 h 1291"/>
                <a:gd name="T56" fmla="*/ 1116 w 1879"/>
                <a:gd name="T57" fmla="*/ 1091 h 1291"/>
                <a:gd name="T58" fmla="*/ 1668 w 1879"/>
                <a:gd name="T59" fmla="*/ 1020 h 1291"/>
                <a:gd name="T60" fmla="*/ 1565 w 1879"/>
                <a:gd name="T61" fmla="*/ 1091 h 1291"/>
                <a:gd name="T62" fmla="*/ 1578 w 1879"/>
                <a:gd name="T63" fmla="*/ 1047 h 1291"/>
                <a:gd name="T64" fmla="*/ 1829 w 1879"/>
                <a:gd name="T65" fmla="*/ 183 h 1291"/>
                <a:gd name="T66" fmla="*/ 1781 w 1879"/>
                <a:gd name="T67" fmla="*/ 122 h 1291"/>
                <a:gd name="T68" fmla="*/ 296 w 1879"/>
                <a:gd name="T69" fmla="*/ 140 h 1291"/>
                <a:gd name="T70" fmla="*/ 453 w 1879"/>
                <a:gd name="T71" fmla="*/ 1007 h 1291"/>
                <a:gd name="T72" fmla="*/ 515 w 1879"/>
                <a:gd name="T73" fmla="*/ 1047 h 1291"/>
                <a:gd name="T74" fmla="*/ 501 w 1879"/>
                <a:gd name="T75" fmla="*/ 1091 h 1291"/>
                <a:gd name="T76" fmla="*/ 243 w 1879"/>
                <a:gd name="T77" fmla="*/ 190 h 1291"/>
                <a:gd name="T78" fmla="*/ 334 w 1879"/>
                <a:gd name="T79" fmla="*/ 78 h 1291"/>
                <a:gd name="T80" fmla="*/ 1855 w 1879"/>
                <a:gd name="T81" fmla="*/ 114 h 1291"/>
                <a:gd name="T82" fmla="*/ 1341 w 1879"/>
                <a:gd name="T83" fmla="*/ 1291 h 1291"/>
                <a:gd name="T84" fmla="*/ 1341 w 1879"/>
                <a:gd name="T85" fmla="*/ 928 h 1291"/>
                <a:gd name="T86" fmla="*/ 1341 w 1879"/>
                <a:gd name="T87" fmla="*/ 1291 h 1291"/>
                <a:gd name="T88" fmla="*/ 1203 w 1879"/>
                <a:gd name="T89" fmla="*/ 1110 h 1291"/>
                <a:gd name="T90" fmla="*/ 1478 w 1879"/>
                <a:gd name="T91" fmla="*/ 1110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9" h="1291">
                  <a:moveTo>
                    <a:pt x="596" y="845"/>
                  </a:moveTo>
                  <a:cubicBezTo>
                    <a:pt x="608" y="844"/>
                    <a:pt x="616" y="833"/>
                    <a:pt x="615" y="821"/>
                  </a:cubicBezTo>
                  <a:cubicBezTo>
                    <a:pt x="550" y="295"/>
                    <a:pt x="550" y="295"/>
                    <a:pt x="550" y="295"/>
                  </a:cubicBezTo>
                  <a:cubicBezTo>
                    <a:pt x="549" y="283"/>
                    <a:pt x="538" y="275"/>
                    <a:pt x="526" y="276"/>
                  </a:cubicBezTo>
                  <a:cubicBezTo>
                    <a:pt x="514" y="278"/>
                    <a:pt x="505" y="289"/>
                    <a:pt x="507" y="301"/>
                  </a:cubicBezTo>
                  <a:cubicBezTo>
                    <a:pt x="571" y="826"/>
                    <a:pt x="571" y="826"/>
                    <a:pt x="571" y="826"/>
                  </a:cubicBezTo>
                  <a:cubicBezTo>
                    <a:pt x="573" y="837"/>
                    <a:pt x="582" y="845"/>
                    <a:pt x="593" y="845"/>
                  </a:cubicBezTo>
                  <a:cubicBezTo>
                    <a:pt x="594" y="845"/>
                    <a:pt x="595" y="845"/>
                    <a:pt x="596" y="845"/>
                  </a:cubicBezTo>
                  <a:close/>
                  <a:moveTo>
                    <a:pt x="896" y="845"/>
                  </a:moveTo>
                  <a:cubicBezTo>
                    <a:pt x="908" y="845"/>
                    <a:pt x="918" y="835"/>
                    <a:pt x="917" y="823"/>
                  </a:cubicBezTo>
                  <a:cubicBezTo>
                    <a:pt x="898" y="297"/>
                    <a:pt x="898" y="297"/>
                    <a:pt x="898" y="297"/>
                  </a:cubicBezTo>
                  <a:cubicBezTo>
                    <a:pt x="897" y="285"/>
                    <a:pt x="887" y="275"/>
                    <a:pt x="875" y="276"/>
                  </a:cubicBezTo>
                  <a:cubicBezTo>
                    <a:pt x="863" y="276"/>
                    <a:pt x="853" y="287"/>
                    <a:pt x="854" y="299"/>
                  </a:cubicBezTo>
                  <a:cubicBezTo>
                    <a:pt x="873" y="824"/>
                    <a:pt x="873" y="824"/>
                    <a:pt x="873" y="824"/>
                  </a:cubicBezTo>
                  <a:cubicBezTo>
                    <a:pt x="874" y="836"/>
                    <a:pt x="884" y="845"/>
                    <a:pt x="895" y="845"/>
                  </a:cubicBezTo>
                  <a:cubicBezTo>
                    <a:pt x="896" y="845"/>
                    <a:pt x="896" y="845"/>
                    <a:pt x="896" y="845"/>
                  </a:cubicBezTo>
                  <a:close/>
                  <a:moveTo>
                    <a:pt x="1219" y="824"/>
                  </a:moveTo>
                  <a:cubicBezTo>
                    <a:pt x="1245" y="299"/>
                    <a:pt x="1245" y="299"/>
                    <a:pt x="1245" y="299"/>
                  </a:cubicBezTo>
                  <a:cubicBezTo>
                    <a:pt x="1246" y="287"/>
                    <a:pt x="1237" y="277"/>
                    <a:pt x="1224" y="276"/>
                  </a:cubicBezTo>
                  <a:cubicBezTo>
                    <a:pt x="1212" y="275"/>
                    <a:pt x="1202" y="285"/>
                    <a:pt x="1201" y="297"/>
                  </a:cubicBezTo>
                  <a:cubicBezTo>
                    <a:pt x="1176" y="822"/>
                    <a:pt x="1176" y="822"/>
                    <a:pt x="1176" y="822"/>
                  </a:cubicBezTo>
                  <a:cubicBezTo>
                    <a:pt x="1175" y="834"/>
                    <a:pt x="1184" y="845"/>
                    <a:pt x="1196" y="845"/>
                  </a:cubicBezTo>
                  <a:cubicBezTo>
                    <a:pt x="1197" y="845"/>
                    <a:pt x="1197" y="845"/>
                    <a:pt x="1198" y="845"/>
                  </a:cubicBezTo>
                  <a:cubicBezTo>
                    <a:pt x="1209" y="845"/>
                    <a:pt x="1219" y="836"/>
                    <a:pt x="1219" y="824"/>
                  </a:cubicBezTo>
                  <a:close/>
                  <a:moveTo>
                    <a:pt x="1521" y="826"/>
                  </a:moveTo>
                  <a:cubicBezTo>
                    <a:pt x="1593" y="301"/>
                    <a:pt x="1593" y="301"/>
                    <a:pt x="1593" y="301"/>
                  </a:cubicBezTo>
                  <a:cubicBezTo>
                    <a:pt x="1594" y="289"/>
                    <a:pt x="1586" y="278"/>
                    <a:pt x="1574" y="276"/>
                  </a:cubicBezTo>
                  <a:cubicBezTo>
                    <a:pt x="1562" y="275"/>
                    <a:pt x="1551" y="283"/>
                    <a:pt x="1549" y="295"/>
                  </a:cubicBezTo>
                  <a:cubicBezTo>
                    <a:pt x="1478" y="820"/>
                    <a:pt x="1478" y="820"/>
                    <a:pt x="1478" y="820"/>
                  </a:cubicBezTo>
                  <a:cubicBezTo>
                    <a:pt x="1476" y="832"/>
                    <a:pt x="1485" y="844"/>
                    <a:pt x="1497" y="845"/>
                  </a:cubicBezTo>
                  <a:cubicBezTo>
                    <a:pt x="1498" y="845"/>
                    <a:pt x="1499" y="845"/>
                    <a:pt x="1500" y="845"/>
                  </a:cubicBezTo>
                  <a:cubicBezTo>
                    <a:pt x="1511" y="845"/>
                    <a:pt x="1520" y="837"/>
                    <a:pt x="1521" y="826"/>
                  </a:cubicBezTo>
                  <a:close/>
                  <a:moveTo>
                    <a:pt x="244" y="415"/>
                  </a:moveTo>
                  <a:cubicBezTo>
                    <a:pt x="152" y="439"/>
                    <a:pt x="152" y="439"/>
                    <a:pt x="152" y="439"/>
                  </a:cubicBezTo>
                  <a:cubicBezTo>
                    <a:pt x="46" y="19"/>
                    <a:pt x="46" y="19"/>
                    <a:pt x="46" y="19"/>
                  </a:cubicBezTo>
                  <a:cubicBezTo>
                    <a:pt x="43" y="7"/>
                    <a:pt x="31" y="0"/>
                    <a:pt x="19" y="3"/>
                  </a:cubicBezTo>
                  <a:cubicBezTo>
                    <a:pt x="7" y="6"/>
                    <a:pt x="0" y="18"/>
                    <a:pt x="3" y="30"/>
                  </a:cubicBezTo>
                  <a:cubicBezTo>
                    <a:pt x="115" y="472"/>
                    <a:pt x="115" y="472"/>
                    <a:pt x="115" y="472"/>
                  </a:cubicBezTo>
                  <a:cubicBezTo>
                    <a:pt x="116" y="477"/>
                    <a:pt x="120" y="482"/>
                    <a:pt x="125" y="485"/>
                  </a:cubicBezTo>
                  <a:cubicBezTo>
                    <a:pt x="128" y="487"/>
                    <a:pt x="132" y="488"/>
                    <a:pt x="136" y="488"/>
                  </a:cubicBezTo>
                  <a:cubicBezTo>
                    <a:pt x="138" y="488"/>
                    <a:pt x="140" y="488"/>
                    <a:pt x="142" y="487"/>
                  </a:cubicBezTo>
                  <a:cubicBezTo>
                    <a:pt x="253" y="459"/>
                    <a:pt x="253" y="459"/>
                    <a:pt x="253" y="459"/>
                  </a:cubicBezTo>
                  <a:lnTo>
                    <a:pt x="244" y="415"/>
                  </a:lnTo>
                  <a:close/>
                  <a:moveTo>
                    <a:pt x="732" y="1291"/>
                  </a:moveTo>
                  <a:cubicBezTo>
                    <a:pt x="631" y="1291"/>
                    <a:pt x="550" y="1210"/>
                    <a:pt x="550" y="1110"/>
                  </a:cubicBezTo>
                  <a:cubicBezTo>
                    <a:pt x="550" y="1009"/>
                    <a:pt x="631" y="928"/>
                    <a:pt x="732" y="928"/>
                  </a:cubicBezTo>
                  <a:cubicBezTo>
                    <a:pt x="832" y="928"/>
                    <a:pt x="913" y="1009"/>
                    <a:pt x="913" y="1110"/>
                  </a:cubicBezTo>
                  <a:cubicBezTo>
                    <a:pt x="913" y="1210"/>
                    <a:pt x="832" y="1291"/>
                    <a:pt x="732" y="1291"/>
                  </a:cubicBezTo>
                  <a:close/>
                  <a:moveTo>
                    <a:pt x="732" y="972"/>
                  </a:moveTo>
                  <a:cubicBezTo>
                    <a:pt x="656" y="972"/>
                    <a:pt x="594" y="1034"/>
                    <a:pt x="594" y="1110"/>
                  </a:cubicBezTo>
                  <a:cubicBezTo>
                    <a:pt x="594" y="1186"/>
                    <a:pt x="656" y="1247"/>
                    <a:pt x="732" y="1247"/>
                  </a:cubicBezTo>
                  <a:cubicBezTo>
                    <a:pt x="808" y="1247"/>
                    <a:pt x="869" y="1186"/>
                    <a:pt x="869" y="1110"/>
                  </a:cubicBezTo>
                  <a:cubicBezTo>
                    <a:pt x="869" y="1034"/>
                    <a:pt x="808" y="972"/>
                    <a:pt x="732" y="972"/>
                  </a:cubicBezTo>
                  <a:close/>
                  <a:moveTo>
                    <a:pt x="1116" y="1091"/>
                  </a:moveTo>
                  <a:cubicBezTo>
                    <a:pt x="956" y="1091"/>
                    <a:pt x="956" y="1091"/>
                    <a:pt x="956" y="1091"/>
                  </a:cubicBezTo>
                  <a:cubicBezTo>
                    <a:pt x="955" y="1076"/>
                    <a:pt x="952" y="1061"/>
                    <a:pt x="948" y="1047"/>
                  </a:cubicBezTo>
                  <a:cubicBezTo>
                    <a:pt x="1124" y="1047"/>
                    <a:pt x="1124" y="1047"/>
                    <a:pt x="1124" y="1047"/>
                  </a:cubicBezTo>
                  <a:cubicBezTo>
                    <a:pt x="1120" y="1061"/>
                    <a:pt x="1117" y="1076"/>
                    <a:pt x="1116" y="1091"/>
                  </a:cubicBezTo>
                  <a:close/>
                  <a:moveTo>
                    <a:pt x="1872" y="194"/>
                  </a:moveTo>
                  <a:cubicBezTo>
                    <a:pt x="1668" y="1020"/>
                    <a:pt x="1668" y="1020"/>
                    <a:pt x="1668" y="1020"/>
                  </a:cubicBezTo>
                  <a:cubicBezTo>
                    <a:pt x="1658" y="1062"/>
                    <a:pt x="1621" y="1091"/>
                    <a:pt x="1578" y="1091"/>
                  </a:cubicBezTo>
                  <a:cubicBezTo>
                    <a:pt x="1565" y="1091"/>
                    <a:pt x="1565" y="1091"/>
                    <a:pt x="1565" y="1091"/>
                  </a:cubicBezTo>
                  <a:cubicBezTo>
                    <a:pt x="1564" y="1076"/>
                    <a:pt x="1561" y="1061"/>
                    <a:pt x="1557" y="1047"/>
                  </a:cubicBezTo>
                  <a:cubicBezTo>
                    <a:pt x="1578" y="1047"/>
                    <a:pt x="1578" y="1047"/>
                    <a:pt x="1578" y="1047"/>
                  </a:cubicBezTo>
                  <a:cubicBezTo>
                    <a:pt x="1600" y="1047"/>
                    <a:pt x="1620" y="1031"/>
                    <a:pt x="1625" y="1009"/>
                  </a:cubicBezTo>
                  <a:cubicBezTo>
                    <a:pt x="1829" y="183"/>
                    <a:pt x="1829" y="183"/>
                    <a:pt x="1829" y="183"/>
                  </a:cubicBezTo>
                  <a:cubicBezTo>
                    <a:pt x="1833" y="168"/>
                    <a:pt x="1829" y="153"/>
                    <a:pt x="1820" y="141"/>
                  </a:cubicBezTo>
                  <a:cubicBezTo>
                    <a:pt x="1811" y="129"/>
                    <a:pt x="1797" y="122"/>
                    <a:pt x="1781" y="122"/>
                  </a:cubicBezTo>
                  <a:cubicBezTo>
                    <a:pt x="334" y="122"/>
                    <a:pt x="334" y="122"/>
                    <a:pt x="334" y="122"/>
                  </a:cubicBezTo>
                  <a:cubicBezTo>
                    <a:pt x="320" y="122"/>
                    <a:pt x="306" y="129"/>
                    <a:pt x="296" y="140"/>
                  </a:cubicBezTo>
                  <a:cubicBezTo>
                    <a:pt x="287" y="152"/>
                    <a:pt x="283" y="167"/>
                    <a:pt x="286" y="181"/>
                  </a:cubicBezTo>
                  <a:cubicBezTo>
                    <a:pt x="453" y="1007"/>
                    <a:pt x="453" y="1007"/>
                    <a:pt x="453" y="1007"/>
                  </a:cubicBezTo>
                  <a:cubicBezTo>
                    <a:pt x="458" y="1030"/>
                    <a:pt x="478" y="1047"/>
                    <a:pt x="501" y="1047"/>
                  </a:cubicBezTo>
                  <a:cubicBezTo>
                    <a:pt x="515" y="1047"/>
                    <a:pt x="515" y="1047"/>
                    <a:pt x="515" y="1047"/>
                  </a:cubicBezTo>
                  <a:cubicBezTo>
                    <a:pt x="511" y="1061"/>
                    <a:pt x="508" y="1076"/>
                    <a:pt x="507" y="1091"/>
                  </a:cubicBezTo>
                  <a:cubicBezTo>
                    <a:pt x="501" y="1091"/>
                    <a:pt x="501" y="1091"/>
                    <a:pt x="501" y="1091"/>
                  </a:cubicBezTo>
                  <a:cubicBezTo>
                    <a:pt x="457" y="1091"/>
                    <a:pt x="419" y="1059"/>
                    <a:pt x="410" y="1016"/>
                  </a:cubicBezTo>
                  <a:cubicBezTo>
                    <a:pt x="243" y="190"/>
                    <a:pt x="243" y="190"/>
                    <a:pt x="243" y="190"/>
                  </a:cubicBezTo>
                  <a:cubicBezTo>
                    <a:pt x="238" y="162"/>
                    <a:pt x="245" y="134"/>
                    <a:pt x="262" y="112"/>
                  </a:cubicBezTo>
                  <a:cubicBezTo>
                    <a:pt x="280" y="91"/>
                    <a:pt x="306" y="78"/>
                    <a:pt x="334" y="78"/>
                  </a:cubicBezTo>
                  <a:cubicBezTo>
                    <a:pt x="1781" y="78"/>
                    <a:pt x="1781" y="78"/>
                    <a:pt x="1781" y="78"/>
                  </a:cubicBezTo>
                  <a:cubicBezTo>
                    <a:pt x="1810" y="78"/>
                    <a:pt x="1837" y="91"/>
                    <a:pt x="1855" y="114"/>
                  </a:cubicBezTo>
                  <a:cubicBezTo>
                    <a:pt x="1872" y="137"/>
                    <a:pt x="1879" y="166"/>
                    <a:pt x="1872" y="194"/>
                  </a:cubicBezTo>
                  <a:close/>
                  <a:moveTo>
                    <a:pt x="1341" y="1291"/>
                  </a:moveTo>
                  <a:cubicBezTo>
                    <a:pt x="1240" y="1291"/>
                    <a:pt x="1159" y="1210"/>
                    <a:pt x="1159" y="1110"/>
                  </a:cubicBezTo>
                  <a:cubicBezTo>
                    <a:pt x="1159" y="1009"/>
                    <a:pt x="1240" y="928"/>
                    <a:pt x="1341" y="928"/>
                  </a:cubicBezTo>
                  <a:cubicBezTo>
                    <a:pt x="1441" y="928"/>
                    <a:pt x="1522" y="1009"/>
                    <a:pt x="1522" y="1110"/>
                  </a:cubicBezTo>
                  <a:cubicBezTo>
                    <a:pt x="1522" y="1210"/>
                    <a:pt x="1441" y="1291"/>
                    <a:pt x="1341" y="1291"/>
                  </a:cubicBezTo>
                  <a:close/>
                  <a:moveTo>
                    <a:pt x="1341" y="972"/>
                  </a:moveTo>
                  <a:cubicBezTo>
                    <a:pt x="1265" y="972"/>
                    <a:pt x="1203" y="1034"/>
                    <a:pt x="1203" y="1110"/>
                  </a:cubicBezTo>
                  <a:cubicBezTo>
                    <a:pt x="1203" y="1186"/>
                    <a:pt x="1265" y="1247"/>
                    <a:pt x="1341" y="1247"/>
                  </a:cubicBezTo>
                  <a:cubicBezTo>
                    <a:pt x="1416" y="1247"/>
                    <a:pt x="1478" y="1186"/>
                    <a:pt x="1478" y="1110"/>
                  </a:cubicBezTo>
                  <a:cubicBezTo>
                    <a:pt x="1478" y="1034"/>
                    <a:pt x="1416" y="972"/>
                    <a:pt x="1341" y="972"/>
                  </a:cubicBezTo>
                  <a:close/>
                </a:path>
              </a:pathLst>
            </a:custGeom>
            <a:solidFill>
              <a:srgbClr val="2126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Arial" panose="020B0604020202020204" pitchFamily="34" charset="0"/>
                <a:cs typeface="Arial" panose="020B0604020202020204" pitchFamily="34" charset="0"/>
              </a:endParaRPr>
            </a:p>
          </p:txBody>
        </p:sp>
        <p:sp>
          <p:nvSpPr>
            <p:cNvPr id="112" name="Freeform 41">
              <a:extLst>
                <a:ext uri="{FF2B5EF4-FFF2-40B4-BE49-F238E27FC236}">
                  <a16:creationId xmlns:a16="http://schemas.microsoft.com/office/drawing/2014/main" id="{4D1FD48C-EE48-6C25-99AC-B0C8BDF96A7E}"/>
                </a:ext>
              </a:extLst>
            </p:cNvPr>
            <p:cNvSpPr>
              <a:spLocks noEditPoints="1"/>
            </p:cNvSpPr>
            <p:nvPr/>
          </p:nvSpPr>
          <p:spPr bwMode="auto">
            <a:xfrm>
              <a:off x="2686" y="553"/>
              <a:ext cx="2714" cy="2957"/>
            </a:xfrm>
            <a:custGeom>
              <a:avLst/>
              <a:gdLst>
                <a:gd name="T0" fmla="*/ 0 w 1449"/>
                <a:gd name="T1" fmla="*/ 408 h 1577"/>
                <a:gd name="T2" fmla="*/ 136 w 1449"/>
                <a:gd name="T3" fmla="*/ 282 h 1577"/>
                <a:gd name="T4" fmla="*/ 139 w 1449"/>
                <a:gd name="T5" fmla="*/ 282 h 1577"/>
                <a:gd name="T6" fmla="*/ 272 w 1449"/>
                <a:gd name="T7" fmla="*/ 176 h 1577"/>
                <a:gd name="T8" fmla="*/ 273 w 1449"/>
                <a:gd name="T9" fmla="*/ 176 h 1577"/>
                <a:gd name="T10" fmla="*/ 408 w 1449"/>
                <a:gd name="T11" fmla="*/ 60 h 1577"/>
                <a:gd name="T12" fmla="*/ 508 w 1449"/>
                <a:gd name="T13" fmla="*/ 105 h 1577"/>
                <a:gd name="T14" fmla="*/ 579 w 1449"/>
                <a:gd name="T15" fmla="*/ 85 h 1577"/>
                <a:gd name="T16" fmla="*/ 622 w 1449"/>
                <a:gd name="T17" fmla="*/ 92 h 1577"/>
                <a:gd name="T18" fmla="*/ 751 w 1449"/>
                <a:gd name="T19" fmla="*/ 0 h 1577"/>
                <a:gd name="T20" fmla="*/ 866 w 1449"/>
                <a:gd name="T21" fmla="*/ 64 h 1577"/>
                <a:gd name="T22" fmla="*/ 899 w 1449"/>
                <a:gd name="T23" fmla="*/ 60 h 1577"/>
                <a:gd name="T24" fmla="*/ 1009 w 1449"/>
                <a:gd name="T25" fmla="*/ 118 h 1577"/>
                <a:gd name="T26" fmla="*/ 1064 w 1449"/>
                <a:gd name="T27" fmla="*/ 106 h 1577"/>
                <a:gd name="T28" fmla="*/ 1188 w 1449"/>
                <a:gd name="T29" fmla="*/ 188 h 1577"/>
                <a:gd name="T30" fmla="*/ 1210 w 1449"/>
                <a:gd name="T31" fmla="*/ 186 h 1577"/>
                <a:gd name="T32" fmla="*/ 1345 w 1449"/>
                <a:gd name="T33" fmla="*/ 315 h 1577"/>
                <a:gd name="T34" fmla="*/ 1449 w 1449"/>
                <a:gd name="T35" fmla="*/ 409 h 1577"/>
                <a:gd name="T36" fmla="*/ 1434 w 1449"/>
                <a:gd name="T37" fmla="*/ 408 h 1577"/>
                <a:gd name="T38" fmla="*/ 0 w 1449"/>
                <a:gd name="T39" fmla="*/ 408 h 1577"/>
                <a:gd name="T40" fmla="*/ 478 w 1449"/>
                <a:gd name="T41" fmla="*/ 1484 h 1577"/>
                <a:gd name="T42" fmla="*/ 385 w 1449"/>
                <a:gd name="T43" fmla="*/ 1390 h 1577"/>
                <a:gd name="T44" fmla="*/ 291 w 1449"/>
                <a:gd name="T45" fmla="*/ 1484 h 1577"/>
                <a:gd name="T46" fmla="*/ 385 w 1449"/>
                <a:gd name="T47" fmla="*/ 1577 h 1577"/>
                <a:gd name="T48" fmla="*/ 478 w 1449"/>
                <a:gd name="T49" fmla="*/ 1484 h 1577"/>
                <a:gd name="T50" fmla="*/ 1087 w 1449"/>
                <a:gd name="T51" fmla="*/ 1484 h 1577"/>
                <a:gd name="T52" fmla="*/ 994 w 1449"/>
                <a:gd name="T53" fmla="*/ 1390 h 1577"/>
                <a:gd name="T54" fmla="*/ 900 w 1449"/>
                <a:gd name="T55" fmla="*/ 1484 h 1577"/>
                <a:gd name="T56" fmla="*/ 994 w 1449"/>
                <a:gd name="T57" fmla="*/ 1577 h 1577"/>
                <a:gd name="T58" fmla="*/ 1087 w 1449"/>
                <a:gd name="T59" fmla="*/ 1484 h 1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49" h="1577">
                  <a:moveTo>
                    <a:pt x="0" y="408"/>
                  </a:moveTo>
                  <a:cubicBezTo>
                    <a:pt x="5" y="338"/>
                    <a:pt x="64" y="282"/>
                    <a:pt x="136" y="282"/>
                  </a:cubicBezTo>
                  <a:cubicBezTo>
                    <a:pt x="137" y="282"/>
                    <a:pt x="138" y="282"/>
                    <a:pt x="139" y="282"/>
                  </a:cubicBezTo>
                  <a:cubicBezTo>
                    <a:pt x="153" y="222"/>
                    <a:pt x="207" y="176"/>
                    <a:pt x="272" y="176"/>
                  </a:cubicBezTo>
                  <a:cubicBezTo>
                    <a:pt x="272" y="176"/>
                    <a:pt x="273" y="176"/>
                    <a:pt x="273" y="176"/>
                  </a:cubicBezTo>
                  <a:cubicBezTo>
                    <a:pt x="283" y="111"/>
                    <a:pt x="339" y="60"/>
                    <a:pt x="408" y="60"/>
                  </a:cubicBezTo>
                  <a:cubicBezTo>
                    <a:pt x="448" y="60"/>
                    <a:pt x="484" y="78"/>
                    <a:pt x="508" y="105"/>
                  </a:cubicBezTo>
                  <a:cubicBezTo>
                    <a:pt x="529" y="93"/>
                    <a:pt x="553" y="85"/>
                    <a:pt x="579" y="85"/>
                  </a:cubicBezTo>
                  <a:cubicBezTo>
                    <a:pt x="594" y="85"/>
                    <a:pt x="609" y="88"/>
                    <a:pt x="622" y="92"/>
                  </a:cubicBezTo>
                  <a:cubicBezTo>
                    <a:pt x="641" y="39"/>
                    <a:pt x="691" y="0"/>
                    <a:pt x="751" y="0"/>
                  </a:cubicBezTo>
                  <a:cubicBezTo>
                    <a:pt x="800" y="0"/>
                    <a:pt x="842" y="26"/>
                    <a:pt x="866" y="64"/>
                  </a:cubicBezTo>
                  <a:cubicBezTo>
                    <a:pt x="877" y="62"/>
                    <a:pt x="888" y="60"/>
                    <a:pt x="899" y="60"/>
                  </a:cubicBezTo>
                  <a:cubicBezTo>
                    <a:pt x="944" y="60"/>
                    <a:pt x="985" y="83"/>
                    <a:pt x="1009" y="118"/>
                  </a:cubicBezTo>
                  <a:cubicBezTo>
                    <a:pt x="1026" y="110"/>
                    <a:pt x="1044" y="106"/>
                    <a:pt x="1064" y="106"/>
                  </a:cubicBezTo>
                  <a:cubicBezTo>
                    <a:pt x="1119" y="106"/>
                    <a:pt x="1167" y="140"/>
                    <a:pt x="1188" y="188"/>
                  </a:cubicBezTo>
                  <a:cubicBezTo>
                    <a:pt x="1195" y="187"/>
                    <a:pt x="1202" y="186"/>
                    <a:pt x="1210" y="186"/>
                  </a:cubicBezTo>
                  <a:cubicBezTo>
                    <a:pt x="1282" y="186"/>
                    <a:pt x="1342" y="243"/>
                    <a:pt x="1345" y="315"/>
                  </a:cubicBezTo>
                  <a:cubicBezTo>
                    <a:pt x="1395" y="325"/>
                    <a:pt x="1434" y="362"/>
                    <a:pt x="1449" y="409"/>
                  </a:cubicBezTo>
                  <a:cubicBezTo>
                    <a:pt x="1444" y="409"/>
                    <a:pt x="1439" y="408"/>
                    <a:pt x="1434" y="408"/>
                  </a:cubicBezTo>
                  <a:lnTo>
                    <a:pt x="0" y="408"/>
                  </a:lnTo>
                  <a:close/>
                  <a:moveTo>
                    <a:pt x="478" y="1484"/>
                  </a:moveTo>
                  <a:cubicBezTo>
                    <a:pt x="478" y="1432"/>
                    <a:pt x="436" y="1390"/>
                    <a:pt x="385" y="1390"/>
                  </a:cubicBezTo>
                  <a:cubicBezTo>
                    <a:pt x="333" y="1390"/>
                    <a:pt x="291" y="1432"/>
                    <a:pt x="291" y="1484"/>
                  </a:cubicBezTo>
                  <a:cubicBezTo>
                    <a:pt x="291" y="1535"/>
                    <a:pt x="333" y="1577"/>
                    <a:pt x="385" y="1577"/>
                  </a:cubicBezTo>
                  <a:cubicBezTo>
                    <a:pt x="436" y="1577"/>
                    <a:pt x="478" y="1535"/>
                    <a:pt x="478" y="1484"/>
                  </a:cubicBezTo>
                  <a:close/>
                  <a:moveTo>
                    <a:pt x="1087" y="1484"/>
                  </a:moveTo>
                  <a:cubicBezTo>
                    <a:pt x="1087" y="1432"/>
                    <a:pt x="1045" y="1390"/>
                    <a:pt x="994" y="1390"/>
                  </a:cubicBezTo>
                  <a:cubicBezTo>
                    <a:pt x="942" y="1390"/>
                    <a:pt x="900" y="1432"/>
                    <a:pt x="900" y="1484"/>
                  </a:cubicBezTo>
                  <a:cubicBezTo>
                    <a:pt x="900" y="1535"/>
                    <a:pt x="942" y="1577"/>
                    <a:pt x="994" y="1577"/>
                  </a:cubicBezTo>
                  <a:cubicBezTo>
                    <a:pt x="1045" y="1577"/>
                    <a:pt x="1087" y="1535"/>
                    <a:pt x="1087" y="1484"/>
                  </a:cubicBezTo>
                  <a:close/>
                </a:path>
              </a:pathLst>
            </a:custGeom>
            <a:solidFill>
              <a:srgbClr val="424C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Arial" panose="020B0604020202020204" pitchFamily="34" charset="0"/>
                <a:cs typeface="Arial" panose="020B0604020202020204" pitchFamily="34" charset="0"/>
              </a:endParaRPr>
            </a:p>
          </p:txBody>
        </p:sp>
      </p:grpSp>
      <p:sp>
        <p:nvSpPr>
          <p:cNvPr id="113" name="Rounded Rectangle 7">
            <a:extLst>
              <a:ext uri="{FF2B5EF4-FFF2-40B4-BE49-F238E27FC236}">
                <a16:creationId xmlns:a16="http://schemas.microsoft.com/office/drawing/2014/main" id="{4AB83B3A-4413-B791-218B-A3F6E50FC824}"/>
              </a:ext>
            </a:extLst>
          </p:cNvPr>
          <p:cNvSpPr/>
          <p:nvPr/>
        </p:nvSpPr>
        <p:spPr>
          <a:xfrm>
            <a:off x="6352264" y="2237731"/>
            <a:ext cx="1724858" cy="1283465"/>
          </a:xfrm>
          <a:prstGeom prst="roundRect">
            <a:avLst>
              <a:gd name="adj" fmla="val 5451"/>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0" rIns="45720" bIns="45720" numCol="1" spcCol="0" rtlCol="0" fromWordArt="0" anchor="ctr" anchorCtr="0" forceAA="0" compatLnSpc="1">
            <a:prstTxWarp prst="textNoShape">
              <a:avLst/>
            </a:prstTxWarp>
            <a:noAutofit/>
          </a:bodyPr>
          <a:lstStyle/>
          <a:p>
            <a:pPr algn="ctr"/>
            <a:r>
              <a:rPr lang="en-US" sz="1400" b="1" dirty="0">
                <a:solidFill>
                  <a:srgbClr val="817A6C"/>
                </a:solidFill>
                <a:latin typeface="Arial" panose="020B0604020202020204" pitchFamily="34" charset="0"/>
                <a:cs typeface="Arial" panose="020B0604020202020204" pitchFamily="34" charset="0"/>
                <a:sym typeface="Arial" panose="020B0604020202020204" pitchFamily="34" charset="0"/>
              </a:rPr>
              <a:t>Textiles</a:t>
            </a:r>
          </a:p>
          <a:p>
            <a:pPr marL="0" lvl="1" algn="ctr">
              <a:buClr>
                <a:schemeClr val="tx2"/>
              </a:buClr>
            </a:pPr>
            <a:endParaRPr lang="en-US" sz="1400" dirty="0">
              <a:solidFill>
                <a:srgbClr val="817A6C"/>
              </a:solidFill>
              <a:latin typeface="Arial" panose="020B0604020202020204" pitchFamily="34" charset="0"/>
              <a:cs typeface="Arial" panose="020B0604020202020204" pitchFamily="34" charset="0"/>
              <a:sym typeface="Arial" panose="020B0604020202020204" pitchFamily="34" charset="0"/>
            </a:endParaRPr>
          </a:p>
          <a:p>
            <a:pPr algn="ctr"/>
            <a:endParaRPr lang="ru-RU" sz="1400" b="1" dirty="0">
              <a:solidFill>
                <a:srgbClr val="817A6C"/>
              </a:solidFill>
              <a:latin typeface="Arial" panose="020B0604020202020204" pitchFamily="34" charset="0"/>
              <a:cs typeface="Arial" panose="020B0604020202020204" pitchFamily="34" charset="0"/>
              <a:sym typeface="Arial" panose="020B0604020202020204" pitchFamily="34" charset="0"/>
            </a:endParaRPr>
          </a:p>
        </p:txBody>
      </p:sp>
      <p:pic>
        <p:nvPicPr>
          <p:cNvPr id="114" name="Graphic 113" descr="Alterations &amp; Tailoring with solid fill">
            <a:extLst>
              <a:ext uri="{FF2B5EF4-FFF2-40B4-BE49-F238E27FC236}">
                <a16:creationId xmlns:a16="http://schemas.microsoft.com/office/drawing/2014/main" id="{72CB7CBE-09FC-9285-A2CB-50B9079FFD5F}"/>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07273" y="2314233"/>
            <a:ext cx="385331" cy="385331"/>
          </a:xfrm>
          <a:prstGeom prst="rect">
            <a:avLst/>
          </a:prstGeom>
        </p:spPr>
      </p:pic>
      <p:sp>
        <p:nvSpPr>
          <p:cNvPr id="115" name="Rounded Rectangle 5">
            <a:extLst>
              <a:ext uri="{FF2B5EF4-FFF2-40B4-BE49-F238E27FC236}">
                <a16:creationId xmlns:a16="http://schemas.microsoft.com/office/drawing/2014/main" id="{797E36DD-8ED4-C792-7A69-82607C6E0167}"/>
              </a:ext>
            </a:extLst>
          </p:cNvPr>
          <p:cNvSpPr/>
          <p:nvPr/>
        </p:nvSpPr>
        <p:spPr>
          <a:xfrm>
            <a:off x="2808345" y="2381423"/>
            <a:ext cx="1724858" cy="1283465"/>
          </a:xfrm>
          <a:prstGeom prst="roundRect">
            <a:avLst>
              <a:gd name="adj" fmla="val 5451"/>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0" rIns="45720" bIns="45720" numCol="1" spcCol="0" rtlCol="0" fromWordArt="0" anchor="ctr" anchorCtr="0" forceAA="0" compatLnSpc="1">
            <a:prstTxWarp prst="textNoShape">
              <a:avLst/>
            </a:prstTxWarp>
            <a:noAutofit/>
          </a:bodyPr>
          <a:lstStyle/>
          <a:p>
            <a:pPr algn="ctr"/>
            <a:r>
              <a:rPr lang="en-US" sz="1400" b="1" dirty="0">
                <a:solidFill>
                  <a:srgbClr val="817A6C"/>
                </a:solidFill>
                <a:latin typeface="Arial" panose="020B0604020202020204" pitchFamily="34" charset="0"/>
                <a:cs typeface="Arial" panose="020B0604020202020204" pitchFamily="34" charset="0"/>
                <a:sym typeface="Arial" panose="020B0604020202020204" pitchFamily="34" charset="0"/>
              </a:rPr>
              <a:t>Agriculture, food and fertilizers</a:t>
            </a:r>
          </a:p>
          <a:p>
            <a:pPr marL="0" lvl="1" algn="ctr">
              <a:buClr>
                <a:schemeClr val="tx2"/>
              </a:buClr>
            </a:pPr>
            <a:endParaRPr lang="en-US" sz="1400" dirty="0">
              <a:solidFill>
                <a:srgbClr val="817A6C"/>
              </a:solidFill>
              <a:latin typeface="Arial" panose="020B0604020202020204" pitchFamily="34" charset="0"/>
              <a:cs typeface="Arial" panose="020B0604020202020204" pitchFamily="34" charset="0"/>
            </a:endParaRPr>
          </a:p>
          <a:p>
            <a:pPr algn="ctr"/>
            <a:endParaRPr lang="ru-RU" sz="1400" dirty="0">
              <a:solidFill>
                <a:srgbClr val="817A6C"/>
              </a:solidFill>
              <a:latin typeface="Arial" panose="020B0604020202020204" pitchFamily="34" charset="0"/>
              <a:cs typeface="Arial" panose="020B0604020202020204" pitchFamily="34" charset="0"/>
              <a:sym typeface="Arial" panose="020B0604020202020204" pitchFamily="34" charset="0"/>
            </a:endParaRPr>
          </a:p>
        </p:txBody>
      </p:sp>
      <p:pic>
        <p:nvPicPr>
          <p:cNvPr id="116" name="Graphic 115" descr="Grain with solid fill">
            <a:extLst>
              <a:ext uri="{FF2B5EF4-FFF2-40B4-BE49-F238E27FC236}">
                <a16:creationId xmlns:a16="http://schemas.microsoft.com/office/drawing/2014/main" id="{9F08F5D3-2A2C-EEBC-295E-8DDBB76F02C2}"/>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518252" y="2299141"/>
            <a:ext cx="359642" cy="359642"/>
          </a:xfrm>
          <a:prstGeom prst="rect">
            <a:avLst/>
          </a:prstGeom>
        </p:spPr>
      </p:pic>
      <p:sp>
        <p:nvSpPr>
          <p:cNvPr id="117" name="Rounded Rectangle 7">
            <a:extLst>
              <a:ext uri="{FF2B5EF4-FFF2-40B4-BE49-F238E27FC236}">
                <a16:creationId xmlns:a16="http://schemas.microsoft.com/office/drawing/2014/main" id="{A8B64D3A-5545-F2AF-65F5-5A8284A38E14}"/>
              </a:ext>
            </a:extLst>
          </p:cNvPr>
          <p:cNvSpPr/>
          <p:nvPr/>
        </p:nvSpPr>
        <p:spPr>
          <a:xfrm>
            <a:off x="8228346" y="2237731"/>
            <a:ext cx="1724858" cy="1283465"/>
          </a:xfrm>
          <a:prstGeom prst="roundRect">
            <a:avLst>
              <a:gd name="adj" fmla="val 5451"/>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0" rIns="45720" bIns="45720" numCol="1" spcCol="0" rtlCol="0" fromWordArt="0" anchor="ctr" anchorCtr="0" forceAA="0" compatLnSpc="1">
            <a:prstTxWarp prst="textNoShape">
              <a:avLst/>
            </a:prstTxWarp>
            <a:noAutofit/>
          </a:bodyPr>
          <a:lstStyle/>
          <a:p>
            <a:pPr algn="ctr"/>
            <a:r>
              <a:rPr lang="en-US" sz="1400" b="1" dirty="0">
                <a:solidFill>
                  <a:srgbClr val="817A6C"/>
                </a:solidFill>
                <a:latin typeface="Arial" panose="020B0604020202020204" pitchFamily="34" charset="0"/>
                <a:cs typeface="Arial" panose="020B0604020202020204" pitchFamily="34" charset="0"/>
                <a:sym typeface="Arial" panose="020B0604020202020204" pitchFamily="34" charset="0"/>
              </a:rPr>
              <a:t>Chemicals, plastics and downstream products</a:t>
            </a:r>
          </a:p>
        </p:txBody>
      </p:sp>
      <p:grpSp>
        <p:nvGrpSpPr>
          <p:cNvPr id="118" name="bcgIcons_Chemistry">
            <a:extLst>
              <a:ext uri="{FF2B5EF4-FFF2-40B4-BE49-F238E27FC236}">
                <a16:creationId xmlns:a16="http://schemas.microsoft.com/office/drawing/2014/main" id="{2CE8EDA0-F5DD-3CEA-B4EA-EEB431B8629C}"/>
              </a:ext>
            </a:extLst>
          </p:cNvPr>
          <p:cNvGrpSpPr>
            <a:grpSpLocks noChangeAspect="1"/>
          </p:cNvGrpSpPr>
          <p:nvPr/>
        </p:nvGrpSpPr>
        <p:grpSpPr bwMode="auto">
          <a:xfrm>
            <a:off x="8914600" y="2341187"/>
            <a:ext cx="352349" cy="317596"/>
            <a:chOff x="1682" y="0"/>
            <a:chExt cx="4316" cy="4320"/>
          </a:xfrm>
        </p:grpSpPr>
        <p:sp>
          <p:nvSpPr>
            <p:cNvPr id="119" name="AutoShape 33">
              <a:extLst>
                <a:ext uri="{FF2B5EF4-FFF2-40B4-BE49-F238E27FC236}">
                  <a16:creationId xmlns:a16="http://schemas.microsoft.com/office/drawing/2014/main" id="{FA9CA802-9339-A62B-469F-FD613B3477E7}"/>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sp>
          <p:nvSpPr>
            <p:cNvPr id="120" name="Freeform 35">
              <a:extLst>
                <a:ext uri="{FF2B5EF4-FFF2-40B4-BE49-F238E27FC236}">
                  <a16:creationId xmlns:a16="http://schemas.microsoft.com/office/drawing/2014/main" id="{A246E29E-66C7-CC8B-76DB-116B51C89EEA}"/>
                </a:ext>
              </a:extLst>
            </p:cNvPr>
            <p:cNvSpPr>
              <a:spLocks/>
            </p:cNvSpPr>
            <p:nvPr/>
          </p:nvSpPr>
          <p:spPr bwMode="auto">
            <a:xfrm>
              <a:off x="2673" y="1106"/>
              <a:ext cx="2334" cy="3043"/>
            </a:xfrm>
            <a:custGeom>
              <a:avLst/>
              <a:gdLst>
                <a:gd name="T0" fmla="*/ 1104 w 1246"/>
                <a:gd name="T1" fmla="*/ 605 h 1623"/>
                <a:gd name="T2" fmla="*/ 769 w 1246"/>
                <a:gd name="T3" fmla="*/ 394 h 1623"/>
                <a:gd name="T4" fmla="*/ 769 w 1246"/>
                <a:gd name="T5" fmla="*/ 44 h 1623"/>
                <a:gd name="T6" fmla="*/ 815 w 1246"/>
                <a:gd name="T7" fmla="*/ 44 h 1623"/>
                <a:gd name="T8" fmla="*/ 815 w 1246"/>
                <a:gd name="T9" fmla="*/ 58 h 1623"/>
                <a:gd name="T10" fmla="*/ 837 w 1246"/>
                <a:gd name="T11" fmla="*/ 80 h 1623"/>
                <a:gd name="T12" fmla="*/ 859 w 1246"/>
                <a:gd name="T13" fmla="*/ 58 h 1623"/>
                <a:gd name="T14" fmla="*/ 859 w 1246"/>
                <a:gd name="T15" fmla="*/ 22 h 1623"/>
                <a:gd name="T16" fmla="*/ 837 w 1246"/>
                <a:gd name="T17" fmla="*/ 0 h 1623"/>
                <a:gd name="T18" fmla="*/ 769 w 1246"/>
                <a:gd name="T19" fmla="*/ 0 h 1623"/>
                <a:gd name="T20" fmla="*/ 747 w 1246"/>
                <a:gd name="T21" fmla="*/ 0 h 1623"/>
                <a:gd name="T22" fmla="*/ 725 w 1246"/>
                <a:gd name="T23" fmla="*/ 0 h 1623"/>
                <a:gd name="T24" fmla="*/ 725 w 1246"/>
                <a:gd name="T25" fmla="*/ 412 h 1623"/>
                <a:gd name="T26" fmla="*/ 742 w 1246"/>
                <a:gd name="T27" fmla="*/ 433 h 1623"/>
                <a:gd name="T28" fmla="*/ 1202 w 1246"/>
                <a:gd name="T29" fmla="*/ 1000 h 1623"/>
                <a:gd name="T30" fmla="*/ 623 w 1246"/>
                <a:gd name="T31" fmla="*/ 1579 h 1623"/>
                <a:gd name="T32" fmla="*/ 44 w 1246"/>
                <a:gd name="T33" fmla="*/ 1000 h 1623"/>
                <a:gd name="T34" fmla="*/ 504 w 1246"/>
                <a:gd name="T35" fmla="*/ 433 h 1623"/>
                <a:gd name="T36" fmla="*/ 521 w 1246"/>
                <a:gd name="T37" fmla="*/ 412 h 1623"/>
                <a:gd name="T38" fmla="*/ 521 w 1246"/>
                <a:gd name="T39" fmla="*/ 22 h 1623"/>
                <a:gd name="T40" fmla="*/ 499 w 1246"/>
                <a:gd name="T41" fmla="*/ 0 h 1623"/>
                <a:gd name="T42" fmla="*/ 409 w 1246"/>
                <a:gd name="T43" fmla="*/ 0 h 1623"/>
                <a:gd name="T44" fmla="*/ 387 w 1246"/>
                <a:gd name="T45" fmla="*/ 22 h 1623"/>
                <a:gd name="T46" fmla="*/ 387 w 1246"/>
                <a:gd name="T47" fmla="*/ 58 h 1623"/>
                <a:gd name="T48" fmla="*/ 409 w 1246"/>
                <a:gd name="T49" fmla="*/ 80 h 1623"/>
                <a:gd name="T50" fmla="*/ 431 w 1246"/>
                <a:gd name="T51" fmla="*/ 58 h 1623"/>
                <a:gd name="T52" fmla="*/ 431 w 1246"/>
                <a:gd name="T53" fmla="*/ 44 h 1623"/>
                <a:gd name="T54" fmla="*/ 477 w 1246"/>
                <a:gd name="T55" fmla="*/ 44 h 1623"/>
                <a:gd name="T56" fmla="*/ 477 w 1246"/>
                <a:gd name="T57" fmla="*/ 394 h 1623"/>
                <a:gd name="T58" fmla="*/ 142 w 1246"/>
                <a:gd name="T59" fmla="*/ 605 h 1623"/>
                <a:gd name="T60" fmla="*/ 0 w 1246"/>
                <a:gd name="T61" fmla="*/ 1000 h 1623"/>
                <a:gd name="T62" fmla="*/ 623 w 1246"/>
                <a:gd name="T63" fmla="*/ 1623 h 1623"/>
                <a:gd name="T64" fmla="*/ 1246 w 1246"/>
                <a:gd name="T65" fmla="*/ 1000 h 1623"/>
                <a:gd name="T66" fmla="*/ 1104 w 1246"/>
                <a:gd name="T67" fmla="*/ 605 h 1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46" h="1623">
                  <a:moveTo>
                    <a:pt x="1104" y="605"/>
                  </a:moveTo>
                  <a:cubicBezTo>
                    <a:pt x="1018" y="500"/>
                    <a:pt x="900" y="426"/>
                    <a:pt x="769" y="394"/>
                  </a:cubicBezTo>
                  <a:cubicBezTo>
                    <a:pt x="769" y="44"/>
                    <a:pt x="769" y="44"/>
                    <a:pt x="769" y="44"/>
                  </a:cubicBezTo>
                  <a:cubicBezTo>
                    <a:pt x="815" y="44"/>
                    <a:pt x="815" y="44"/>
                    <a:pt x="815" y="44"/>
                  </a:cubicBezTo>
                  <a:cubicBezTo>
                    <a:pt x="815" y="58"/>
                    <a:pt x="815" y="58"/>
                    <a:pt x="815" y="58"/>
                  </a:cubicBezTo>
                  <a:cubicBezTo>
                    <a:pt x="815" y="70"/>
                    <a:pt x="825" y="80"/>
                    <a:pt x="837" y="80"/>
                  </a:cubicBezTo>
                  <a:cubicBezTo>
                    <a:pt x="849" y="80"/>
                    <a:pt x="859" y="70"/>
                    <a:pt x="859" y="58"/>
                  </a:cubicBezTo>
                  <a:cubicBezTo>
                    <a:pt x="859" y="22"/>
                    <a:pt x="859" y="22"/>
                    <a:pt x="859" y="22"/>
                  </a:cubicBezTo>
                  <a:cubicBezTo>
                    <a:pt x="859" y="10"/>
                    <a:pt x="849" y="0"/>
                    <a:pt x="837" y="0"/>
                  </a:cubicBezTo>
                  <a:cubicBezTo>
                    <a:pt x="769" y="0"/>
                    <a:pt x="769" y="0"/>
                    <a:pt x="769" y="0"/>
                  </a:cubicBezTo>
                  <a:cubicBezTo>
                    <a:pt x="747" y="0"/>
                    <a:pt x="747" y="0"/>
                    <a:pt x="747" y="0"/>
                  </a:cubicBezTo>
                  <a:cubicBezTo>
                    <a:pt x="725" y="0"/>
                    <a:pt x="725" y="0"/>
                    <a:pt x="725" y="0"/>
                  </a:cubicBezTo>
                  <a:cubicBezTo>
                    <a:pt x="725" y="412"/>
                    <a:pt x="725" y="412"/>
                    <a:pt x="725" y="412"/>
                  </a:cubicBezTo>
                  <a:cubicBezTo>
                    <a:pt x="725" y="422"/>
                    <a:pt x="732" y="431"/>
                    <a:pt x="742" y="433"/>
                  </a:cubicBezTo>
                  <a:cubicBezTo>
                    <a:pt x="1009" y="489"/>
                    <a:pt x="1202" y="727"/>
                    <a:pt x="1202" y="1000"/>
                  </a:cubicBezTo>
                  <a:cubicBezTo>
                    <a:pt x="1202" y="1319"/>
                    <a:pt x="942" y="1579"/>
                    <a:pt x="623" y="1579"/>
                  </a:cubicBezTo>
                  <a:cubicBezTo>
                    <a:pt x="304" y="1579"/>
                    <a:pt x="44" y="1319"/>
                    <a:pt x="44" y="1000"/>
                  </a:cubicBezTo>
                  <a:cubicBezTo>
                    <a:pt x="44" y="727"/>
                    <a:pt x="237" y="489"/>
                    <a:pt x="504" y="433"/>
                  </a:cubicBezTo>
                  <a:cubicBezTo>
                    <a:pt x="514" y="431"/>
                    <a:pt x="521" y="422"/>
                    <a:pt x="521" y="412"/>
                  </a:cubicBezTo>
                  <a:cubicBezTo>
                    <a:pt x="521" y="22"/>
                    <a:pt x="521" y="22"/>
                    <a:pt x="521" y="22"/>
                  </a:cubicBezTo>
                  <a:cubicBezTo>
                    <a:pt x="521" y="10"/>
                    <a:pt x="511" y="0"/>
                    <a:pt x="499" y="0"/>
                  </a:cubicBezTo>
                  <a:cubicBezTo>
                    <a:pt x="409" y="0"/>
                    <a:pt x="409" y="0"/>
                    <a:pt x="409" y="0"/>
                  </a:cubicBezTo>
                  <a:cubicBezTo>
                    <a:pt x="397" y="0"/>
                    <a:pt x="387" y="10"/>
                    <a:pt x="387" y="22"/>
                  </a:cubicBezTo>
                  <a:cubicBezTo>
                    <a:pt x="387" y="58"/>
                    <a:pt x="387" y="58"/>
                    <a:pt x="387" y="58"/>
                  </a:cubicBezTo>
                  <a:cubicBezTo>
                    <a:pt x="387" y="70"/>
                    <a:pt x="397" y="80"/>
                    <a:pt x="409" y="80"/>
                  </a:cubicBezTo>
                  <a:cubicBezTo>
                    <a:pt x="421" y="80"/>
                    <a:pt x="431" y="70"/>
                    <a:pt x="431" y="58"/>
                  </a:cubicBezTo>
                  <a:cubicBezTo>
                    <a:pt x="431" y="44"/>
                    <a:pt x="431" y="44"/>
                    <a:pt x="431" y="44"/>
                  </a:cubicBezTo>
                  <a:cubicBezTo>
                    <a:pt x="477" y="44"/>
                    <a:pt x="477" y="44"/>
                    <a:pt x="477" y="44"/>
                  </a:cubicBezTo>
                  <a:cubicBezTo>
                    <a:pt x="477" y="394"/>
                    <a:pt x="477" y="394"/>
                    <a:pt x="477" y="394"/>
                  </a:cubicBezTo>
                  <a:cubicBezTo>
                    <a:pt x="346" y="426"/>
                    <a:pt x="228" y="500"/>
                    <a:pt x="142" y="605"/>
                  </a:cubicBezTo>
                  <a:cubicBezTo>
                    <a:pt x="50" y="716"/>
                    <a:pt x="0" y="856"/>
                    <a:pt x="0" y="1000"/>
                  </a:cubicBezTo>
                  <a:cubicBezTo>
                    <a:pt x="0" y="1343"/>
                    <a:pt x="280" y="1623"/>
                    <a:pt x="623" y="1623"/>
                  </a:cubicBezTo>
                  <a:cubicBezTo>
                    <a:pt x="966" y="1623"/>
                    <a:pt x="1246" y="1343"/>
                    <a:pt x="1246" y="1000"/>
                  </a:cubicBezTo>
                  <a:cubicBezTo>
                    <a:pt x="1246" y="856"/>
                    <a:pt x="1196" y="716"/>
                    <a:pt x="1104" y="60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Arial" panose="020B0604020202020204" pitchFamily="34" charset="0"/>
                <a:cs typeface="Arial" panose="020B0604020202020204" pitchFamily="34" charset="0"/>
              </a:endParaRPr>
            </a:p>
          </p:txBody>
        </p:sp>
        <p:sp>
          <p:nvSpPr>
            <p:cNvPr id="121" name="Freeform 36">
              <a:extLst>
                <a:ext uri="{FF2B5EF4-FFF2-40B4-BE49-F238E27FC236}">
                  <a16:creationId xmlns:a16="http://schemas.microsoft.com/office/drawing/2014/main" id="{B699E128-8B42-2002-D562-B7D57826E5D9}"/>
                </a:ext>
              </a:extLst>
            </p:cNvPr>
            <p:cNvSpPr>
              <a:spLocks noEditPoints="1"/>
            </p:cNvSpPr>
            <p:nvPr/>
          </p:nvSpPr>
          <p:spPr bwMode="auto">
            <a:xfrm>
              <a:off x="2872" y="172"/>
              <a:ext cx="1936" cy="3779"/>
            </a:xfrm>
            <a:custGeom>
              <a:avLst/>
              <a:gdLst>
                <a:gd name="T0" fmla="*/ 517 w 1034"/>
                <a:gd name="T1" fmla="*/ 981 h 2015"/>
                <a:gd name="T2" fmla="*/ 0 w 1034"/>
                <a:gd name="T3" fmla="*/ 1498 h 2015"/>
                <a:gd name="T4" fmla="*/ 517 w 1034"/>
                <a:gd name="T5" fmla="*/ 2015 h 2015"/>
                <a:gd name="T6" fmla="*/ 1034 w 1034"/>
                <a:gd name="T7" fmla="*/ 1498 h 2015"/>
                <a:gd name="T8" fmla="*/ 517 w 1034"/>
                <a:gd name="T9" fmla="*/ 981 h 2015"/>
                <a:gd name="T10" fmla="*/ 293 w 1034"/>
                <a:gd name="T11" fmla="*/ 1376 h 2015"/>
                <a:gd name="T12" fmla="*/ 249 w 1034"/>
                <a:gd name="T13" fmla="*/ 1330 h 2015"/>
                <a:gd name="T14" fmla="*/ 293 w 1034"/>
                <a:gd name="T15" fmla="*/ 1284 h 2015"/>
                <a:gd name="T16" fmla="*/ 339 w 1034"/>
                <a:gd name="T17" fmla="*/ 1330 h 2015"/>
                <a:gd name="T18" fmla="*/ 293 w 1034"/>
                <a:gd name="T19" fmla="*/ 1376 h 2015"/>
                <a:gd name="T20" fmla="*/ 386 w 1034"/>
                <a:gd name="T21" fmla="*/ 1750 h 2015"/>
                <a:gd name="T22" fmla="*/ 358 w 1034"/>
                <a:gd name="T23" fmla="*/ 1722 h 2015"/>
                <a:gd name="T24" fmla="*/ 386 w 1034"/>
                <a:gd name="T25" fmla="*/ 1696 h 2015"/>
                <a:gd name="T26" fmla="*/ 412 w 1034"/>
                <a:gd name="T27" fmla="*/ 1722 h 2015"/>
                <a:gd name="T28" fmla="*/ 386 w 1034"/>
                <a:gd name="T29" fmla="*/ 1750 h 2015"/>
                <a:gd name="T30" fmla="*/ 412 w 1034"/>
                <a:gd name="T31" fmla="*/ 1124 h 2015"/>
                <a:gd name="T32" fmla="*/ 462 w 1034"/>
                <a:gd name="T33" fmla="*/ 1074 h 2015"/>
                <a:gd name="T34" fmla="*/ 513 w 1034"/>
                <a:gd name="T35" fmla="*/ 1124 h 2015"/>
                <a:gd name="T36" fmla="*/ 462 w 1034"/>
                <a:gd name="T37" fmla="*/ 1176 h 2015"/>
                <a:gd name="T38" fmla="*/ 412 w 1034"/>
                <a:gd name="T39" fmla="*/ 1124 h 2015"/>
                <a:gd name="T40" fmla="*/ 523 w 1034"/>
                <a:gd name="T41" fmla="*/ 1914 h 2015"/>
                <a:gd name="T42" fmla="*/ 486 w 1034"/>
                <a:gd name="T43" fmla="*/ 1878 h 2015"/>
                <a:gd name="T44" fmla="*/ 523 w 1034"/>
                <a:gd name="T45" fmla="*/ 1842 h 2015"/>
                <a:gd name="T46" fmla="*/ 558 w 1034"/>
                <a:gd name="T47" fmla="*/ 1878 h 2015"/>
                <a:gd name="T48" fmla="*/ 523 w 1034"/>
                <a:gd name="T49" fmla="*/ 1914 h 2015"/>
                <a:gd name="T50" fmla="*/ 536 w 1034"/>
                <a:gd name="T51" fmla="*/ 1577 h 2015"/>
                <a:gd name="T52" fmla="*/ 475 w 1034"/>
                <a:gd name="T53" fmla="*/ 1518 h 2015"/>
                <a:gd name="T54" fmla="*/ 536 w 1034"/>
                <a:gd name="T55" fmla="*/ 1457 h 2015"/>
                <a:gd name="T56" fmla="*/ 595 w 1034"/>
                <a:gd name="T57" fmla="*/ 1518 h 2015"/>
                <a:gd name="T58" fmla="*/ 536 w 1034"/>
                <a:gd name="T59" fmla="*/ 1577 h 2015"/>
                <a:gd name="T60" fmla="*/ 673 w 1034"/>
                <a:gd name="T61" fmla="*/ 1339 h 2015"/>
                <a:gd name="T62" fmla="*/ 641 w 1034"/>
                <a:gd name="T63" fmla="*/ 1307 h 2015"/>
                <a:gd name="T64" fmla="*/ 673 w 1034"/>
                <a:gd name="T65" fmla="*/ 1275 h 2015"/>
                <a:gd name="T66" fmla="*/ 705 w 1034"/>
                <a:gd name="T67" fmla="*/ 1307 h 2015"/>
                <a:gd name="T68" fmla="*/ 673 w 1034"/>
                <a:gd name="T69" fmla="*/ 1339 h 2015"/>
                <a:gd name="T70" fmla="*/ 525 w 1034"/>
                <a:gd name="T71" fmla="*/ 453 h 2015"/>
                <a:gd name="T72" fmla="*/ 425 w 1034"/>
                <a:gd name="T73" fmla="*/ 353 h 2015"/>
                <a:gd name="T74" fmla="*/ 525 w 1034"/>
                <a:gd name="T75" fmla="*/ 253 h 2015"/>
                <a:gd name="T76" fmla="*/ 625 w 1034"/>
                <a:gd name="T77" fmla="*/ 353 h 2015"/>
                <a:gd name="T78" fmla="*/ 525 w 1034"/>
                <a:gd name="T79" fmla="*/ 453 h 2015"/>
                <a:gd name="T80" fmla="*/ 407 w 1034"/>
                <a:gd name="T81" fmla="*/ 220 h 2015"/>
                <a:gd name="T82" fmla="*/ 352 w 1034"/>
                <a:gd name="T83" fmla="*/ 165 h 2015"/>
                <a:gd name="T84" fmla="*/ 407 w 1034"/>
                <a:gd name="T85" fmla="*/ 110 h 2015"/>
                <a:gd name="T86" fmla="*/ 462 w 1034"/>
                <a:gd name="T87" fmla="*/ 165 h 2015"/>
                <a:gd name="T88" fmla="*/ 407 w 1034"/>
                <a:gd name="T89" fmla="*/ 220 h 2015"/>
                <a:gd name="T90" fmla="*/ 580 w 1034"/>
                <a:gd name="T91" fmla="*/ 94 h 2015"/>
                <a:gd name="T92" fmla="*/ 533 w 1034"/>
                <a:gd name="T93" fmla="*/ 47 h 2015"/>
                <a:gd name="T94" fmla="*/ 580 w 1034"/>
                <a:gd name="T95" fmla="*/ 0 h 2015"/>
                <a:gd name="T96" fmla="*/ 627 w 1034"/>
                <a:gd name="T97" fmla="*/ 47 h 2015"/>
                <a:gd name="T98" fmla="*/ 580 w 1034"/>
                <a:gd name="T99" fmla="*/ 94 h 2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4" h="2015">
                  <a:moveTo>
                    <a:pt x="517" y="981"/>
                  </a:moveTo>
                  <a:cubicBezTo>
                    <a:pt x="231" y="981"/>
                    <a:pt x="0" y="1212"/>
                    <a:pt x="0" y="1498"/>
                  </a:cubicBezTo>
                  <a:cubicBezTo>
                    <a:pt x="0" y="1783"/>
                    <a:pt x="231" y="2015"/>
                    <a:pt x="517" y="2015"/>
                  </a:cubicBezTo>
                  <a:cubicBezTo>
                    <a:pt x="803" y="2015"/>
                    <a:pt x="1034" y="1783"/>
                    <a:pt x="1034" y="1498"/>
                  </a:cubicBezTo>
                  <a:cubicBezTo>
                    <a:pt x="1034" y="1212"/>
                    <a:pt x="803" y="981"/>
                    <a:pt x="517" y="981"/>
                  </a:cubicBezTo>
                  <a:close/>
                  <a:moveTo>
                    <a:pt x="293" y="1376"/>
                  </a:moveTo>
                  <a:cubicBezTo>
                    <a:pt x="269" y="1376"/>
                    <a:pt x="249" y="1356"/>
                    <a:pt x="249" y="1330"/>
                  </a:cubicBezTo>
                  <a:cubicBezTo>
                    <a:pt x="249" y="1305"/>
                    <a:pt x="269" y="1284"/>
                    <a:pt x="293" y="1284"/>
                  </a:cubicBezTo>
                  <a:cubicBezTo>
                    <a:pt x="319" y="1284"/>
                    <a:pt x="339" y="1305"/>
                    <a:pt x="339" y="1330"/>
                  </a:cubicBezTo>
                  <a:cubicBezTo>
                    <a:pt x="339" y="1356"/>
                    <a:pt x="319" y="1376"/>
                    <a:pt x="293" y="1376"/>
                  </a:cubicBezTo>
                  <a:close/>
                  <a:moveTo>
                    <a:pt x="386" y="1750"/>
                  </a:moveTo>
                  <a:cubicBezTo>
                    <a:pt x="371" y="1750"/>
                    <a:pt x="358" y="1737"/>
                    <a:pt x="358" y="1722"/>
                  </a:cubicBezTo>
                  <a:cubicBezTo>
                    <a:pt x="358" y="1707"/>
                    <a:pt x="371" y="1696"/>
                    <a:pt x="386" y="1696"/>
                  </a:cubicBezTo>
                  <a:cubicBezTo>
                    <a:pt x="401" y="1696"/>
                    <a:pt x="412" y="1707"/>
                    <a:pt x="412" y="1722"/>
                  </a:cubicBezTo>
                  <a:cubicBezTo>
                    <a:pt x="412" y="1737"/>
                    <a:pt x="401" y="1750"/>
                    <a:pt x="386" y="1750"/>
                  </a:cubicBezTo>
                  <a:close/>
                  <a:moveTo>
                    <a:pt x="412" y="1124"/>
                  </a:moveTo>
                  <a:cubicBezTo>
                    <a:pt x="412" y="1097"/>
                    <a:pt x="434" y="1074"/>
                    <a:pt x="462" y="1074"/>
                  </a:cubicBezTo>
                  <a:cubicBezTo>
                    <a:pt x="491" y="1074"/>
                    <a:pt x="513" y="1097"/>
                    <a:pt x="513" y="1124"/>
                  </a:cubicBezTo>
                  <a:cubicBezTo>
                    <a:pt x="513" y="1153"/>
                    <a:pt x="491" y="1176"/>
                    <a:pt x="462" y="1176"/>
                  </a:cubicBezTo>
                  <a:cubicBezTo>
                    <a:pt x="434" y="1176"/>
                    <a:pt x="412" y="1153"/>
                    <a:pt x="412" y="1124"/>
                  </a:cubicBezTo>
                  <a:close/>
                  <a:moveTo>
                    <a:pt x="523" y="1914"/>
                  </a:moveTo>
                  <a:cubicBezTo>
                    <a:pt x="502" y="1914"/>
                    <a:pt x="486" y="1899"/>
                    <a:pt x="486" y="1878"/>
                  </a:cubicBezTo>
                  <a:cubicBezTo>
                    <a:pt x="486" y="1857"/>
                    <a:pt x="502" y="1842"/>
                    <a:pt x="523" y="1842"/>
                  </a:cubicBezTo>
                  <a:cubicBezTo>
                    <a:pt x="541" y="1842"/>
                    <a:pt x="558" y="1857"/>
                    <a:pt x="558" y="1878"/>
                  </a:cubicBezTo>
                  <a:cubicBezTo>
                    <a:pt x="558" y="1899"/>
                    <a:pt x="541" y="1914"/>
                    <a:pt x="523" y="1914"/>
                  </a:cubicBezTo>
                  <a:close/>
                  <a:moveTo>
                    <a:pt x="536" y="1577"/>
                  </a:moveTo>
                  <a:cubicBezTo>
                    <a:pt x="504" y="1577"/>
                    <a:pt x="475" y="1549"/>
                    <a:pt x="475" y="1518"/>
                  </a:cubicBezTo>
                  <a:cubicBezTo>
                    <a:pt x="475" y="1483"/>
                    <a:pt x="504" y="1457"/>
                    <a:pt x="536" y="1457"/>
                  </a:cubicBezTo>
                  <a:cubicBezTo>
                    <a:pt x="568" y="1457"/>
                    <a:pt x="595" y="1483"/>
                    <a:pt x="595" y="1518"/>
                  </a:cubicBezTo>
                  <a:cubicBezTo>
                    <a:pt x="595" y="1549"/>
                    <a:pt x="568" y="1577"/>
                    <a:pt x="536" y="1577"/>
                  </a:cubicBezTo>
                  <a:close/>
                  <a:moveTo>
                    <a:pt x="673" y="1339"/>
                  </a:moveTo>
                  <a:cubicBezTo>
                    <a:pt x="656" y="1339"/>
                    <a:pt x="641" y="1326"/>
                    <a:pt x="641" y="1307"/>
                  </a:cubicBezTo>
                  <a:cubicBezTo>
                    <a:pt x="641" y="1290"/>
                    <a:pt x="656" y="1275"/>
                    <a:pt x="673" y="1275"/>
                  </a:cubicBezTo>
                  <a:cubicBezTo>
                    <a:pt x="690" y="1275"/>
                    <a:pt x="705" y="1290"/>
                    <a:pt x="705" y="1307"/>
                  </a:cubicBezTo>
                  <a:cubicBezTo>
                    <a:pt x="705" y="1326"/>
                    <a:pt x="690" y="1339"/>
                    <a:pt x="673" y="1339"/>
                  </a:cubicBezTo>
                  <a:close/>
                  <a:moveTo>
                    <a:pt x="525" y="453"/>
                  </a:moveTo>
                  <a:cubicBezTo>
                    <a:pt x="470" y="453"/>
                    <a:pt x="425" y="408"/>
                    <a:pt x="425" y="353"/>
                  </a:cubicBezTo>
                  <a:cubicBezTo>
                    <a:pt x="425" y="298"/>
                    <a:pt x="470" y="253"/>
                    <a:pt x="525" y="253"/>
                  </a:cubicBezTo>
                  <a:cubicBezTo>
                    <a:pt x="580" y="253"/>
                    <a:pt x="625" y="298"/>
                    <a:pt x="625" y="353"/>
                  </a:cubicBezTo>
                  <a:cubicBezTo>
                    <a:pt x="625" y="408"/>
                    <a:pt x="580" y="453"/>
                    <a:pt x="525" y="453"/>
                  </a:cubicBezTo>
                  <a:close/>
                  <a:moveTo>
                    <a:pt x="407" y="220"/>
                  </a:moveTo>
                  <a:cubicBezTo>
                    <a:pt x="377" y="220"/>
                    <a:pt x="352" y="195"/>
                    <a:pt x="352" y="165"/>
                  </a:cubicBezTo>
                  <a:cubicBezTo>
                    <a:pt x="352" y="135"/>
                    <a:pt x="377" y="110"/>
                    <a:pt x="407" y="110"/>
                  </a:cubicBezTo>
                  <a:cubicBezTo>
                    <a:pt x="438" y="110"/>
                    <a:pt x="462" y="135"/>
                    <a:pt x="462" y="165"/>
                  </a:cubicBezTo>
                  <a:cubicBezTo>
                    <a:pt x="462" y="195"/>
                    <a:pt x="438" y="220"/>
                    <a:pt x="407" y="220"/>
                  </a:cubicBezTo>
                  <a:close/>
                  <a:moveTo>
                    <a:pt x="580" y="94"/>
                  </a:moveTo>
                  <a:cubicBezTo>
                    <a:pt x="554" y="94"/>
                    <a:pt x="533" y="73"/>
                    <a:pt x="533" y="47"/>
                  </a:cubicBezTo>
                  <a:cubicBezTo>
                    <a:pt x="533" y="21"/>
                    <a:pt x="554" y="0"/>
                    <a:pt x="580" y="0"/>
                  </a:cubicBezTo>
                  <a:cubicBezTo>
                    <a:pt x="606" y="0"/>
                    <a:pt x="627" y="21"/>
                    <a:pt x="627" y="47"/>
                  </a:cubicBezTo>
                  <a:cubicBezTo>
                    <a:pt x="627" y="73"/>
                    <a:pt x="606" y="94"/>
                    <a:pt x="580" y="9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100">
                <a:latin typeface="Arial" panose="020B0604020202020204" pitchFamily="34" charset="0"/>
                <a:cs typeface="Arial" panose="020B0604020202020204" pitchFamily="34" charset="0"/>
              </a:endParaRPr>
            </a:p>
          </p:txBody>
        </p:sp>
      </p:grpSp>
      <p:sp>
        <p:nvSpPr>
          <p:cNvPr id="123" name="TextBox 122">
            <a:extLst>
              <a:ext uri="{FF2B5EF4-FFF2-40B4-BE49-F238E27FC236}">
                <a16:creationId xmlns:a16="http://schemas.microsoft.com/office/drawing/2014/main" id="{B117F2E7-ABC5-C9BB-4086-EF166E7B176B}"/>
              </a:ext>
            </a:extLst>
          </p:cNvPr>
          <p:cNvSpPr txBox="1"/>
          <p:nvPr/>
        </p:nvSpPr>
        <p:spPr>
          <a:xfrm>
            <a:off x="82314" y="2721114"/>
            <a:ext cx="2218762" cy="707886"/>
          </a:xfrm>
          <a:prstGeom prst="rect">
            <a:avLst/>
          </a:prstGeom>
          <a:noFill/>
        </p:spPr>
        <p:txBody>
          <a:bodyPr wrap="square">
            <a:spAutoFit/>
          </a:bodyPr>
          <a:lstStyle/>
          <a:p>
            <a:pPr algn="ctr"/>
            <a:r>
              <a:rPr lang="en-US" sz="2000" b="1" dirty="0">
                <a:solidFill>
                  <a:srgbClr val="7F6000"/>
                </a:solidFill>
                <a:latin typeface="Arial" panose="020B0604020202020204" pitchFamily="34" charset="0"/>
                <a:cs typeface="Arial" panose="020B0604020202020204" pitchFamily="34" charset="0"/>
              </a:rPr>
              <a:t> Strategic Sectors</a:t>
            </a:r>
          </a:p>
        </p:txBody>
      </p:sp>
      <p:sp>
        <p:nvSpPr>
          <p:cNvPr id="124" name="TextBox 123">
            <a:extLst>
              <a:ext uri="{FF2B5EF4-FFF2-40B4-BE49-F238E27FC236}">
                <a16:creationId xmlns:a16="http://schemas.microsoft.com/office/drawing/2014/main" id="{8F036095-40AB-8303-F131-4F5CFAFAE21D}"/>
              </a:ext>
            </a:extLst>
          </p:cNvPr>
          <p:cNvSpPr txBox="1"/>
          <p:nvPr/>
        </p:nvSpPr>
        <p:spPr>
          <a:xfrm>
            <a:off x="82314" y="1304583"/>
            <a:ext cx="2218762" cy="400110"/>
          </a:xfrm>
          <a:prstGeom prst="rect">
            <a:avLst/>
          </a:prstGeom>
          <a:noFill/>
        </p:spPr>
        <p:txBody>
          <a:bodyPr wrap="square">
            <a:spAutoFit/>
          </a:bodyPr>
          <a:lstStyle/>
          <a:p>
            <a:pPr algn="ctr"/>
            <a:r>
              <a:rPr lang="en-US" sz="2000" b="1" dirty="0">
                <a:solidFill>
                  <a:srgbClr val="7F6000"/>
                </a:solidFill>
                <a:latin typeface="Arial" panose="020B0604020202020204" pitchFamily="34" charset="0"/>
                <a:cs typeface="Arial" panose="020B0604020202020204" pitchFamily="34" charset="0"/>
              </a:rPr>
              <a:t>Countries </a:t>
            </a:r>
          </a:p>
        </p:txBody>
      </p:sp>
      <p:pic>
        <p:nvPicPr>
          <p:cNvPr id="125" name="flag_UAE">
            <a:extLst>
              <a:ext uri="{FF2B5EF4-FFF2-40B4-BE49-F238E27FC236}">
                <a16:creationId xmlns:a16="http://schemas.microsoft.com/office/drawing/2014/main" id="{F07A07E1-81EE-BFC4-7CFB-9723507CE837}"/>
              </a:ext>
            </a:extLst>
          </p:cNvPr>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9109001" y="1212937"/>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6" name="flag_egypt">
            <a:extLst>
              <a:ext uri="{FF2B5EF4-FFF2-40B4-BE49-F238E27FC236}">
                <a16:creationId xmlns:a16="http://schemas.microsoft.com/office/drawing/2014/main" id="{4F8E4D7C-66A1-3914-6376-FF3D0770E311}"/>
              </a:ext>
            </a:extLst>
          </p:cNvPr>
          <p:cNvPicPr>
            <a:picLocks noChangeAspect="1" noChangeArrowheads="1"/>
          </p:cNvPicPr>
          <p:nvPr/>
        </p:nvPicPr>
        <p:blipFill rotWithShape="1">
          <a:blip r:embed="rId13" cstate="email">
            <a:extLst>
              <a:ext uri="{28A0092B-C50C-407E-A947-70E740481C1C}">
                <a14:useLocalDpi xmlns:a14="http://schemas.microsoft.com/office/drawing/2010/main"/>
              </a:ext>
            </a:extLst>
          </a:blip>
          <a:srcRect/>
          <a:stretch/>
        </p:blipFill>
        <p:spPr bwMode="auto">
          <a:xfrm>
            <a:off x="8174895" y="1212937"/>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7" name="flag_jordan">
            <a:extLst>
              <a:ext uri="{FF2B5EF4-FFF2-40B4-BE49-F238E27FC236}">
                <a16:creationId xmlns:a16="http://schemas.microsoft.com/office/drawing/2014/main" id="{033F1AF9-CDE9-B9CF-AAF1-9B09538553C8}"/>
              </a:ext>
            </a:extLst>
          </p:cNvPr>
          <p:cNvPicPr>
            <a:picLocks noChangeAspect="1" noChangeArrowheads="1"/>
          </p:cNvPicPr>
          <p:nvPr/>
        </p:nvPicPr>
        <p:blipFill rotWithShape="1">
          <a:blip r:embed="rId14" cstate="email">
            <a:extLst>
              <a:ext uri="{28A0092B-C50C-407E-A947-70E740481C1C}">
                <a14:useLocalDpi xmlns:a14="http://schemas.microsoft.com/office/drawing/2010/main"/>
              </a:ext>
            </a:extLst>
          </a:blip>
          <a:srcRect/>
          <a:stretch/>
        </p:blipFill>
        <p:spPr bwMode="auto">
          <a:xfrm>
            <a:off x="7240789" y="1212937"/>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19050">
                <a:gradFill flip="none" rotWithShape="1">
                  <a:gsLst>
                    <a:gs pos="0">
                      <a:schemeClr val="accent2"/>
                    </a:gs>
                    <a:gs pos="100000">
                      <a:schemeClr val="tx2"/>
                    </a:gs>
                  </a:gsLst>
                  <a:lin ang="2700000" scaled="1"/>
                  <a:tileRect/>
                </a:gradFill>
              </a14:hiddenLine>
            </a:ext>
          </a:extLst>
        </p:spPr>
      </p:pic>
      <p:pic>
        <p:nvPicPr>
          <p:cNvPr id="128" name="Picture 2" descr="‫علم المغرب from ar.wikipedia.org‬‎">
            <a:extLst>
              <a:ext uri="{FF2B5EF4-FFF2-40B4-BE49-F238E27FC236}">
                <a16:creationId xmlns:a16="http://schemas.microsoft.com/office/drawing/2014/main" id="{5647AA41-2DF8-12F8-914E-A3D1473A07F7}"/>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5297391" y="1186553"/>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9" name="Picture 4">
            <a:extLst>
              <a:ext uri="{FF2B5EF4-FFF2-40B4-BE49-F238E27FC236}">
                <a16:creationId xmlns:a16="http://schemas.microsoft.com/office/drawing/2014/main" id="{49A58B22-DAC3-F54D-98D7-68623D43CD92}"/>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6203217" y="1212937"/>
            <a:ext cx="804056" cy="66746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0" name="Picture 2" descr="Turkey - Wikipedia">
            <a:extLst>
              <a:ext uri="{FF2B5EF4-FFF2-40B4-BE49-F238E27FC236}">
                <a16:creationId xmlns:a16="http://schemas.microsoft.com/office/drawing/2014/main" id="{AA810FA9-DA84-A51C-83B9-A4713A5D404C}"/>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3518143" y="1212936"/>
            <a:ext cx="750391" cy="67419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1" name="Picture 4" descr="2,400+ Qatar Qatari Flag Stock Illustrations, Royalty-Free Vector Graphics  &amp; Clip Art - iStock">
            <a:extLst>
              <a:ext uri="{FF2B5EF4-FFF2-40B4-BE49-F238E27FC236}">
                <a16:creationId xmlns:a16="http://schemas.microsoft.com/office/drawing/2014/main" id="{7C434188-5502-C365-C020-7E5AB930450C}"/>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4429531" y="1191503"/>
            <a:ext cx="706863" cy="6956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132" name="Straight Connector 131">
            <a:extLst>
              <a:ext uri="{FF2B5EF4-FFF2-40B4-BE49-F238E27FC236}">
                <a16:creationId xmlns:a16="http://schemas.microsoft.com/office/drawing/2014/main" id="{52C9AB42-76DD-763F-9712-9DC8D791142D}"/>
              </a:ext>
            </a:extLst>
          </p:cNvPr>
          <p:cNvCxnSpPr>
            <a:cxnSpLocks/>
          </p:cNvCxnSpPr>
          <p:nvPr/>
        </p:nvCxnSpPr>
        <p:spPr>
          <a:xfrm>
            <a:off x="174526" y="2140004"/>
            <a:ext cx="11674424"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EC5ACC3-A44D-75AF-FE75-F7BD79261D7E}"/>
              </a:ext>
            </a:extLst>
          </p:cNvPr>
          <p:cNvCxnSpPr>
            <a:cxnSpLocks/>
          </p:cNvCxnSpPr>
          <p:nvPr/>
        </p:nvCxnSpPr>
        <p:spPr>
          <a:xfrm>
            <a:off x="174526" y="3635624"/>
            <a:ext cx="11674424"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custDataLst>
      <p:custData r:id="rId1"/>
    </p:custDataLst>
    <p:extLst>
      <p:ext uri="{BB962C8B-B14F-4D97-AF65-F5344CB8AC3E}">
        <p14:creationId xmlns:p14="http://schemas.microsoft.com/office/powerpoint/2010/main" val="2149878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840DBB-E02B-85C3-D54E-4B478E30907E}"/>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id="{13610A77-2871-AAB4-0D91-0DFBD0C923DC}"/>
              </a:ext>
            </a:extLst>
          </p:cNvPr>
          <p:cNvGraphicFramePr>
            <a:graphicFrameLocks noChangeAspect="1"/>
          </p:cNvGraphicFramePr>
          <p:nvPr>
            <p:custDataLst>
              <p:tags r:id="rId2"/>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name="think-cell Slide" r:id="rId6" imgW="606" imgH="608" progId="TCLayout.ActiveDocument.1">
                  <p:embed/>
                </p:oleObj>
              </mc:Choice>
              <mc:Fallback>
                <p:oleObj name="think-cell Slide" r:id="rId6" imgW="606" imgH="608" progId="TCLayout.ActiveDocument.1">
                  <p:embed/>
                  <p:pic>
                    <p:nvPicPr>
                      <p:cNvPr id="4" name="Object 3" hidden="1">
                        <a:extLst>
                          <a:ext uri="{FF2B5EF4-FFF2-40B4-BE49-F238E27FC236}">
                            <a16:creationId xmlns:a16="http://schemas.microsoft.com/office/drawing/2014/main" id="{13610A77-2871-AAB4-0D91-0DFBD0C923DC}"/>
                          </a:ext>
                        </a:extLst>
                      </p:cNvPr>
                      <p:cNvPicPr/>
                      <p:nvPr/>
                    </p:nvPicPr>
                    <p:blipFill>
                      <a:blip r:embed="rId7"/>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B0260E0-F585-730F-C364-5D1482E56976}"/>
              </a:ext>
            </a:extLst>
          </p:cNvPr>
          <p:cNvSpPr/>
          <p:nvPr>
            <p:custDataLst>
              <p:tags r:id="rId3"/>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id="{E59A3899-180C-0D92-263A-F577A3FD620D}"/>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Three Years of Progress Through the Industrial Partnership for Sustainable Development</a:t>
            </a:r>
          </a:p>
        </p:txBody>
      </p:sp>
      <p:cxnSp>
        <p:nvCxnSpPr>
          <p:cNvPr id="2" name="Straight Connector 1">
            <a:extLst>
              <a:ext uri="{FF2B5EF4-FFF2-40B4-BE49-F238E27FC236}">
                <a16:creationId xmlns:a16="http://schemas.microsoft.com/office/drawing/2014/main" id="{BAD0C4C8-EDB1-F362-8700-5F6EEB3C7A5A}"/>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17">
            <a:extLst>
              <a:ext uri="{FF2B5EF4-FFF2-40B4-BE49-F238E27FC236}">
                <a16:creationId xmlns:a16="http://schemas.microsoft.com/office/drawing/2014/main" id="{E945F7EE-E961-B5D2-7FE3-5029559C0300}"/>
              </a:ext>
            </a:extLst>
          </p:cNvPr>
          <p:cNvSpPr/>
          <p:nvPr/>
        </p:nvSpPr>
        <p:spPr>
          <a:xfrm rot="10800000">
            <a:off x="12056882" y="0"/>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5" name="Rectangle 4">
            <a:extLst>
              <a:ext uri="{FF2B5EF4-FFF2-40B4-BE49-F238E27FC236}">
                <a16:creationId xmlns:a16="http://schemas.microsoft.com/office/drawing/2014/main" id="{6D7600F4-536E-AEFC-9811-693BE7354DB9}"/>
              </a:ext>
            </a:extLst>
          </p:cNvPr>
          <p:cNvSpPr/>
          <p:nvPr/>
        </p:nvSpPr>
        <p:spPr>
          <a:xfrm>
            <a:off x="7008257" y="1300896"/>
            <a:ext cx="2408301" cy="544959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6" name="Title 2">
            <a:extLst>
              <a:ext uri="{FF2B5EF4-FFF2-40B4-BE49-F238E27FC236}">
                <a16:creationId xmlns:a16="http://schemas.microsoft.com/office/drawing/2014/main" id="{F880E31C-D8AC-6638-028F-5C3607AB23AA}"/>
              </a:ext>
            </a:extLst>
          </p:cNvPr>
          <p:cNvSpPr txBox="1">
            <a:spLocks/>
          </p:cNvSpPr>
          <p:nvPr/>
        </p:nvSpPr>
        <p:spPr>
          <a:xfrm flipH="1">
            <a:off x="7458631" y="1389849"/>
            <a:ext cx="1507553" cy="362186"/>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ts val="900"/>
              </a:spcBef>
              <a:spcAft>
                <a:spcPts val="0"/>
              </a:spcAft>
              <a:buClrTx/>
              <a:buSzTx/>
              <a:buFontTx/>
              <a:buNone/>
              <a:tabLst/>
              <a:defRPr/>
            </a:pPr>
            <a:r>
              <a:rPr kumimoji="0" lang="en-US" sz="18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January 2024</a:t>
            </a:r>
            <a:endParaRPr kumimoji="0" lang="ar-EG" sz="18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9" name="Rectangle 8">
            <a:extLst>
              <a:ext uri="{FF2B5EF4-FFF2-40B4-BE49-F238E27FC236}">
                <a16:creationId xmlns:a16="http://schemas.microsoft.com/office/drawing/2014/main" id="{D150D4B5-73F7-45EF-647F-16FC7523924A}"/>
              </a:ext>
            </a:extLst>
          </p:cNvPr>
          <p:cNvSpPr/>
          <p:nvPr/>
        </p:nvSpPr>
        <p:spPr>
          <a:xfrm>
            <a:off x="96658" y="1300897"/>
            <a:ext cx="2006110" cy="544959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kern="0">
              <a:solidFill>
                <a:srgbClr val="FFFFFF"/>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7AAA38E0-D7C8-0542-EFE3-7FF919FA74A3}"/>
              </a:ext>
            </a:extLst>
          </p:cNvPr>
          <p:cNvSpPr/>
          <p:nvPr/>
        </p:nvSpPr>
        <p:spPr>
          <a:xfrm>
            <a:off x="2203455" y="1300898"/>
            <a:ext cx="2285470" cy="544959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kern="0">
              <a:solidFill>
                <a:srgbClr val="FFFFFF"/>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BFB5C582-69A3-9036-E359-7519AF09A290}"/>
              </a:ext>
            </a:extLst>
          </p:cNvPr>
          <p:cNvSpPr/>
          <p:nvPr/>
        </p:nvSpPr>
        <p:spPr>
          <a:xfrm>
            <a:off x="4580531" y="1300897"/>
            <a:ext cx="2316803" cy="544959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kern="0">
              <a:solidFill>
                <a:srgbClr val="FFFFFF"/>
              </a:solidFill>
              <a:latin typeface="Arial" panose="020B0604020202020204" pitchFamily="34" charset="0"/>
              <a:cs typeface="Arial" panose="020B0604020202020204" pitchFamily="34" charset="0"/>
            </a:endParaRPr>
          </a:p>
        </p:txBody>
      </p:sp>
      <p:sp>
        <p:nvSpPr>
          <p:cNvPr id="13" name="Title 2">
            <a:extLst>
              <a:ext uri="{FF2B5EF4-FFF2-40B4-BE49-F238E27FC236}">
                <a16:creationId xmlns:a16="http://schemas.microsoft.com/office/drawing/2014/main" id="{4B529193-7297-3A6E-5A11-1ECDDAE5A743}"/>
              </a:ext>
            </a:extLst>
          </p:cNvPr>
          <p:cNvSpPr txBox="1">
            <a:spLocks/>
          </p:cNvSpPr>
          <p:nvPr/>
        </p:nvSpPr>
        <p:spPr>
          <a:xfrm rot="16200000" flipH="1">
            <a:off x="3247809" y="4872647"/>
            <a:ext cx="3173783" cy="286489"/>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lang="en-US" sz="1500" dirty="0">
                <a:solidFill>
                  <a:srgbClr val="7F6000"/>
                </a:solidFill>
                <a:latin typeface="Arial" panose="020B0604020202020204" pitchFamily="34" charset="0"/>
                <a:cs typeface="Arial" panose="020B0604020202020204" pitchFamily="34" charset="0"/>
                <a:sym typeface="Sakkal Majalla" panose="02000000000000000000" pitchFamily="2" charset="-78"/>
              </a:rPr>
              <a:t>3rd Higher Committee Meeting</a:t>
            </a:r>
            <a:endParaRPr lang="ar-EG" sz="1500" dirty="0">
              <a:solidFill>
                <a:srgbClr val="7F6000"/>
              </a:solidFill>
              <a:latin typeface="Arial" panose="020B0604020202020204" pitchFamily="34" charset="0"/>
              <a:cs typeface="Arial" panose="020B0604020202020204" pitchFamily="34" charset="0"/>
              <a:sym typeface="Sakkal Majalla" panose="02000000000000000000" pitchFamily="2" charset="-78"/>
            </a:endParaRPr>
          </a:p>
        </p:txBody>
      </p:sp>
      <p:sp>
        <p:nvSpPr>
          <p:cNvPr id="14" name="Title 2">
            <a:extLst>
              <a:ext uri="{FF2B5EF4-FFF2-40B4-BE49-F238E27FC236}">
                <a16:creationId xmlns:a16="http://schemas.microsoft.com/office/drawing/2014/main" id="{A736DB79-C24A-9E38-CB9A-35A81B281954}"/>
              </a:ext>
            </a:extLst>
          </p:cNvPr>
          <p:cNvSpPr txBox="1">
            <a:spLocks/>
          </p:cNvSpPr>
          <p:nvPr/>
        </p:nvSpPr>
        <p:spPr>
          <a:xfrm rot="16200000" flipH="1">
            <a:off x="814057" y="4872648"/>
            <a:ext cx="3173783" cy="286489"/>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lang="en-US" sz="1500" dirty="0">
                <a:solidFill>
                  <a:srgbClr val="7F6000"/>
                </a:solidFill>
                <a:latin typeface="Arial" panose="020B0604020202020204" pitchFamily="34" charset="0"/>
                <a:cs typeface="Arial" panose="020B0604020202020204" pitchFamily="34" charset="0"/>
                <a:sym typeface="Sakkal Majalla" panose="02000000000000000000" pitchFamily="2" charset="-78"/>
              </a:rPr>
              <a:t>2nd Higher Committee Meeting</a:t>
            </a:r>
            <a:endParaRPr lang="ar-EG" sz="1500" dirty="0">
              <a:solidFill>
                <a:srgbClr val="7F6000"/>
              </a:solidFill>
              <a:latin typeface="Arial" panose="020B0604020202020204" pitchFamily="34" charset="0"/>
              <a:cs typeface="Arial" panose="020B0604020202020204" pitchFamily="34" charset="0"/>
              <a:sym typeface="Sakkal Majalla" panose="02000000000000000000" pitchFamily="2" charset="-78"/>
            </a:endParaRPr>
          </a:p>
        </p:txBody>
      </p:sp>
      <p:sp>
        <p:nvSpPr>
          <p:cNvPr id="15" name="Title 2">
            <a:extLst>
              <a:ext uri="{FF2B5EF4-FFF2-40B4-BE49-F238E27FC236}">
                <a16:creationId xmlns:a16="http://schemas.microsoft.com/office/drawing/2014/main" id="{C73CBC21-44A7-6E4F-7537-AB4478FB10B6}"/>
              </a:ext>
            </a:extLst>
          </p:cNvPr>
          <p:cNvSpPr txBox="1">
            <a:spLocks/>
          </p:cNvSpPr>
          <p:nvPr/>
        </p:nvSpPr>
        <p:spPr>
          <a:xfrm rot="16200000" flipH="1">
            <a:off x="-1330486" y="4872647"/>
            <a:ext cx="3173783" cy="286489"/>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lang="en-US" sz="1500" dirty="0">
                <a:solidFill>
                  <a:srgbClr val="7F6000"/>
                </a:solidFill>
                <a:latin typeface="Arial" panose="020B0604020202020204" pitchFamily="34" charset="0"/>
                <a:cs typeface="Arial" panose="020B0604020202020204" pitchFamily="34" charset="0"/>
                <a:sym typeface="Sakkal Majalla" panose="02000000000000000000" pitchFamily="2" charset="-78"/>
              </a:rPr>
              <a:t>1</a:t>
            </a:r>
            <a:r>
              <a:rPr lang="en-US" sz="1500" baseline="30000" dirty="0">
                <a:solidFill>
                  <a:srgbClr val="7F6000"/>
                </a:solidFill>
                <a:latin typeface="Arial" panose="020B0604020202020204" pitchFamily="34" charset="0"/>
                <a:cs typeface="Arial" panose="020B0604020202020204" pitchFamily="34" charset="0"/>
                <a:sym typeface="Sakkal Majalla" panose="02000000000000000000" pitchFamily="2" charset="-78"/>
              </a:rPr>
              <a:t>st</a:t>
            </a:r>
            <a:r>
              <a:rPr lang="en-US" sz="1500" dirty="0">
                <a:solidFill>
                  <a:srgbClr val="7F6000"/>
                </a:solidFill>
                <a:latin typeface="Arial" panose="020B0604020202020204" pitchFamily="34" charset="0"/>
                <a:cs typeface="Arial" panose="020B0604020202020204" pitchFamily="34" charset="0"/>
                <a:sym typeface="Sakkal Majalla" panose="02000000000000000000" pitchFamily="2" charset="-78"/>
              </a:rPr>
              <a:t> Higher Committee Meeting</a:t>
            </a:r>
            <a:endParaRPr lang="ar-EG" sz="1500" dirty="0">
              <a:solidFill>
                <a:srgbClr val="7F6000"/>
              </a:solidFill>
              <a:latin typeface="Arial" panose="020B0604020202020204" pitchFamily="34" charset="0"/>
              <a:cs typeface="Arial" panose="020B0604020202020204" pitchFamily="34" charset="0"/>
              <a:sym typeface="Sakkal Majalla" panose="02000000000000000000" pitchFamily="2" charset="-78"/>
            </a:endParaRPr>
          </a:p>
        </p:txBody>
      </p:sp>
      <p:sp>
        <p:nvSpPr>
          <p:cNvPr id="16" name="Title 2">
            <a:extLst>
              <a:ext uri="{FF2B5EF4-FFF2-40B4-BE49-F238E27FC236}">
                <a16:creationId xmlns:a16="http://schemas.microsoft.com/office/drawing/2014/main" id="{073D74E6-D83A-335A-74C0-2378B7CDCFE0}"/>
              </a:ext>
            </a:extLst>
          </p:cNvPr>
          <p:cNvSpPr txBox="1">
            <a:spLocks/>
          </p:cNvSpPr>
          <p:nvPr/>
        </p:nvSpPr>
        <p:spPr>
          <a:xfrm rot="16200000" flipH="1">
            <a:off x="5702977" y="4815368"/>
            <a:ext cx="3173783" cy="286489"/>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lang="en-US" sz="1500" dirty="0">
                <a:solidFill>
                  <a:srgbClr val="7F6000"/>
                </a:solidFill>
                <a:latin typeface="Arial" panose="020B0604020202020204" pitchFamily="34" charset="0"/>
                <a:cs typeface="Arial" panose="020B0604020202020204" pitchFamily="34" charset="0"/>
                <a:sym typeface="Sakkal Majalla" panose="02000000000000000000" pitchFamily="2" charset="-78"/>
              </a:rPr>
              <a:t>4th Higher Committee Meeting</a:t>
            </a:r>
            <a:endParaRPr lang="ar-EG" sz="1500" dirty="0">
              <a:solidFill>
                <a:srgbClr val="7F6000"/>
              </a:solidFill>
              <a:latin typeface="Arial" panose="020B0604020202020204" pitchFamily="34" charset="0"/>
              <a:cs typeface="Arial" panose="020B0604020202020204" pitchFamily="34" charset="0"/>
              <a:sym typeface="Sakkal Majalla" panose="02000000000000000000" pitchFamily="2" charset="-78"/>
            </a:endParaRPr>
          </a:p>
        </p:txBody>
      </p:sp>
      <p:pic>
        <p:nvPicPr>
          <p:cNvPr id="17" name="Picture 16">
            <a:extLst>
              <a:ext uri="{FF2B5EF4-FFF2-40B4-BE49-F238E27FC236}">
                <a16:creationId xmlns:a16="http://schemas.microsoft.com/office/drawing/2014/main" id="{FAE87BBF-D33D-C0C0-8117-17C2C93F32C6}"/>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1" y="1879405"/>
            <a:ext cx="2111850" cy="1357507"/>
          </a:xfrm>
          <a:prstGeom prst="rect">
            <a:avLst/>
          </a:prstGeom>
          <a:noFill/>
          <a:extLst>
            <a:ext uri="{909E8E84-426E-40DD-AFC4-6F175D3DCCD1}">
              <a14:hiddenFill xmlns:a14="http://schemas.microsoft.com/office/drawing/2010/main">
                <a:solidFill>
                  <a:srgbClr val="FFFFFF"/>
                </a:solidFill>
              </a14:hiddenFill>
            </a:ext>
          </a:extLst>
        </p:spPr>
      </p:pic>
      <p:sp>
        <p:nvSpPr>
          <p:cNvPr id="19" name="Title 2">
            <a:extLst>
              <a:ext uri="{FF2B5EF4-FFF2-40B4-BE49-F238E27FC236}">
                <a16:creationId xmlns:a16="http://schemas.microsoft.com/office/drawing/2014/main" id="{FF1B864F-3CEF-8DA9-AA54-4A15D4A11544}"/>
              </a:ext>
            </a:extLst>
          </p:cNvPr>
          <p:cNvSpPr txBox="1">
            <a:spLocks/>
          </p:cNvSpPr>
          <p:nvPr/>
        </p:nvSpPr>
        <p:spPr>
          <a:xfrm flipH="1">
            <a:off x="4939299" y="1442547"/>
            <a:ext cx="1507553" cy="362186"/>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ts val="900"/>
              </a:spcBef>
              <a:spcAft>
                <a:spcPts val="0"/>
              </a:spcAft>
              <a:buClrTx/>
              <a:buSzTx/>
              <a:buFontTx/>
              <a:buNone/>
              <a:tabLst/>
              <a:defRPr/>
            </a:pPr>
            <a:r>
              <a:rPr kumimoji="0" lang="en-US" sz="18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January 2023</a:t>
            </a:r>
            <a:endParaRPr kumimoji="0" lang="ar-EG" sz="18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pic>
        <p:nvPicPr>
          <p:cNvPr id="22" name="Picture 2" descr="12 اتفاقية بين الإمارات والأردن ومصر والبحرين بملياري دولار">
            <a:extLst>
              <a:ext uri="{FF2B5EF4-FFF2-40B4-BE49-F238E27FC236}">
                <a16:creationId xmlns:a16="http://schemas.microsoft.com/office/drawing/2014/main" id="{E5B4D9D2-8899-6AE0-EAE6-E7FAA0D120EC}"/>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4626587" y="1820126"/>
            <a:ext cx="2132976" cy="1384289"/>
          </a:xfrm>
          <a:prstGeom prst="rect">
            <a:avLst/>
          </a:prstGeom>
          <a:noFill/>
          <a:extLst>
            <a:ext uri="{909E8E84-426E-40DD-AFC4-6F175D3DCCD1}">
              <a14:hiddenFill xmlns:a14="http://schemas.microsoft.com/office/drawing/2010/main">
                <a:solidFill>
                  <a:srgbClr val="FFFFFF"/>
                </a:solidFill>
              </a14:hiddenFill>
            </a:ext>
          </a:extLst>
        </p:spPr>
      </p:pic>
      <p:sp>
        <p:nvSpPr>
          <p:cNvPr id="23" name="Title 2">
            <a:extLst>
              <a:ext uri="{FF2B5EF4-FFF2-40B4-BE49-F238E27FC236}">
                <a16:creationId xmlns:a16="http://schemas.microsoft.com/office/drawing/2014/main" id="{20CFE57B-7CB9-2CE9-89AE-806A84AD3F0A}"/>
              </a:ext>
            </a:extLst>
          </p:cNvPr>
          <p:cNvSpPr txBox="1">
            <a:spLocks/>
          </p:cNvSpPr>
          <p:nvPr/>
        </p:nvSpPr>
        <p:spPr>
          <a:xfrm flipH="1">
            <a:off x="2498585" y="1432367"/>
            <a:ext cx="1507553" cy="362186"/>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ts val="900"/>
              </a:spcBef>
              <a:spcAft>
                <a:spcPts val="0"/>
              </a:spcAft>
              <a:buClrTx/>
              <a:buSzTx/>
              <a:buFontTx/>
              <a:buNone/>
              <a:tabLst/>
              <a:defRPr/>
            </a:pPr>
            <a:r>
              <a:rPr kumimoji="0" lang="en-US" sz="18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July 2022</a:t>
            </a:r>
            <a:endParaRPr kumimoji="0" lang="ar-EG" sz="18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pic>
        <p:nvPicPr>
          <p:cNvPr id="24" name="Picture 2" descr="انضمام المغرب إلى الشراكة الصناعية التكاملية لتنمية اقتصادية مستدامة مع  الإمارات والأردن ومصر والبحرين | وكالة أنباء الإمارات">
            <a:extLst>
              <a:ext uri="{FF2B5EF4-FFF2-40B4-BE49-F238E27FC236}">
                <a16:creationId xmlns:a16="http://schemas.microsoft.com/office/drawing/2014/main" id="{2B974A2F-1D45-64D4-AB42-F8DE14A65D28}"/>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7017341" y="1803702"/>
            <a:ext cx="2357755" cy="1384289"/>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7009D4B5-3FC1-8B9A-01CC-41E1B143BD87}"/>
              </a:ext>
            </a:extLst>
          </p:cNvPr>
          <p:cNvSpPr txBox="1"/>
          <p:nvPr/>
        </p:nvSpPr>
        <p:spPr>
          <a:xfrm>
            <a:off x="311553" y="3429000"/>
            <a:ext cx="1731288" cy="2806922"/>
          </a:xfrm>
          <a:prstGeom prst="rect">
            <a:avLst/>
          </a:prstGeom>
          <a:noFill/>
        </p:spPr>
        <p:txBody>
          <a:bodyPr wrap="square">
            <a:spAutoFit/>
          </a:bodyPr>
          <a:lstStyle/>
          <a:p>
            <a:pPr marL="166688" indent="-166688">
              <a:lnSpc>
                <a:spcPct val="90000"/>
              </a:lnSpc>
              <a:buFont typeface="Arial" panose="020B0604020202020204" pitchFamily="34" charset="0"/>
              <a:buChar char="•"/>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Held in Abu Dhabi, UAE</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Launch of the partnership between the UAE, Egypt, and Jordan</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Governance system activation</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Activation of the Executive Committee and sectoral &amp; enablers teams</a:t>
            </a:r>
            <a:endParaRPr kumimoji="0" lang="en-US" sz="1400" i="0" u="none" strike="noStrike" kern="1200" cap="none" spc="0" normalizeH="0" baseline="0" noProof="0" dirty="0">
              <a:ln>
                <a:noFill/>
              </a:ln>
              <a:solidFill>
                <a:srgbClr val="817A6C"/>
              </a:solidFill>
              <a:effectLst/>
              <a:uLnTx/>
              <a:uFillTx/>
              <a:latin typeface="Arial" panose="020B0604020202020204" pitchFamily="34" charset="0"/>
              <a:ea typeface="+mj-ea"/>
              <a:cs typeface="Arial" panose="020B0604020202020204" pitchFamily="34" charset="0"/>
              <a:sym typeface="Sakkal Majalla" panose="02000000000000000000" pitchFamily="2" charset="-78"/>
            </a:endParaRPr>
          </a:p>
        </p:txBody>
      </p:sp>
      <p:sp>
        <p:nvSpPr>
          <p:cNvPr id="34" name="Title 2">
            <a:extLst>
              <a:ext uri="{FF2B5EF4-FFF2-40B4-BE49-F238E27FC236}">
                <a16:creationId xmlns:a16="http://schemas.microsoft.com/office/drawing/2014/main" id="{279EC2D3-57B1-43C3-0AE4-63E50D0F4873}"/>
              </a:ext>
            </a:extLst>
          </p:cNvPr>
          <p:cNvSpPr txBox="1">
            <a:spLocks/>
          </p:cNvSpPr>
          <p:nvPr/>
        </p:nvSpPr>
        <p:spPr>
          <a:xfrm flipH="1">
            <a:off x="316872" y="1457940"/>
            <a:ext cx="1507553" cy="362186"/>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ts val="900"/>
              </a:spcBef>
              <a:spcAft>
                <a:spcPts val="0"/>
              </a:spcAft>
              <a:buClrTx/>
              <a:buSzTx/>
              <a:buFontTx/>
              <a:buNone/>
              <a:tabLst/>
              <a:defRPr/>
            </a:pPr>
            <a:r>
              <a:rPr kumimoji="0" lang="en-US" sz="18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May 2022</a:t>
            </a:r>
            <a:endParaRPr kumimoji="0" lang="ar-EG" sz="18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pic>
        <p:nvPicPr>
          <p:cNvPr id="35" name="Picture 2" descr="خلال التوقيع على مبادرة الشراكة الصناعية التكاملية مع الإمارات ومصر  والأردن، وزير الصناعة والتجارة قطاع الصناعة من ركائز التنويع الاقتصادي  ومحور رئيسي بالتنمية | وزارة الصناعة والتجارة">
            <a:extLst>
              <a:ext uri="{FF2B5EF4-FFF2-40B4-BE49-F238E27FC236}">
                <a16:creationId xmlns:a16="http://schemas.microsoft.com/office/drawing/2014/main" id="{B6E47C66-7DD3-15CE-CD9E-B46FE4CE5E3D}"/>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213692" y="1820126"/>
            <a:ext cx="2092139" cy="1384797"/>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E1D17E74-2960-E87C-9313-9661C4D404E4}"/>
              </a:ext>
            </a:extLst>
          </p:cNvPr>
          <p:cNvSpPr txBox="1"/>
          <p:nvPr/>
        </p:nvSpPr>
        <p:spPr>
          <a:xfrm>
            <a:off x="2528299" y="3429000"/>
            <a:ext cx="1731288" cy="2419124"/>
          </a:xfrm>
          <a:prstGeom prst="rect">
            <a:avLst/>
          </a:prstGeom>
          <a:noFill/>
        </p:spPr>
        <p:txBody>
          <a:bodyPr wrap="square">
            <a:spAutoFit/>
          </a:bodyPr>
          <a:lstStyle/>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Held in Cairo, Egypt.</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The Kingdom of Bahrain joined the partnership.</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Workshops for more than 50 companies were conducted.</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88 proposals for industrial projects were received.</a:t>
            </a:r>
            <a:endParaRPr kumimoji="0" lang="en-US" sz="1400" i="0" u="none" strike="noStrike" kern="1200" cap="none" spc="0" normalizeH="0" baseline="0" noProof="0" dirty="0">
              <a:ln>
                <a:noFill/>
              </a:ln>
              <a:solidFill>
                <a:srgbClr val="817A6C"/>
              </a:solidFill>
              <a:effectLst/>
              <a:uLnTx/>
              <a:uFillTx/>
              <a:latin typeface="Arial" panose="020B0604020202020204" pitchFamily="34" charset="0"/>
              <a:ea typeface="+mj-ea"/>
              <a:cs typeface="Arial" panose="020B0604020202020204" pitchFamily="34" charset="0"/>
              <a:sym typeface="Sakkal Majalla" panose="02000000000000000000" pitchFamily="2" charset="-78"/>
            </a:endParaRPr>
          </a:p>
        </p:txBody>
      </p:sp>
      <p:sp>
        <p:nvSpPr>
          <p:cNvPr id="37" name="TextBox 36">
            <a:extLst>
              <a:ext uri="{FF2B5EF4-FFF2-40B4-BE49-F238E27FC236}">
                <a16:creationId xmlns:a16="http://schemas.microsoft.com/office/drawing/2014/main" id="{7353F6FA-5E3D-ACC1-50C6-27D73887E138}"/>
              </a:ext>
            </a:extLst>
          </p:cNvPr>
          <p:cNvSpPr txBox="1"/>
          <p:nvPr/>
        </p:nvSpPr>
        <p:spPr>
          <a:xfrm>
            <a:off x="4893200" y="3429000"/>
            <a:ext cx="1731288" cy="3000821"/>
          </a:xfrm>
          <a:prstGeom prst="rect">
            <a:avLst/>
          </a:prstGeom>
          <a:noFill/>
        </p:spPr>
        <p:txBody>
          <a:bodyPr wrap="square">
            <a:spAutoFit/>
          </a:bodyPr>
          <a:lstStyle/>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Held in Amman, Jordan.</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Announced 12 partnership agreements for industrial projects.</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Workshops for over 100 companies were conducted.</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35 new proposals for industrial projects were received.</a:t>
            </a:r>
            <a:endParaRPr kumimoji="0" lang="en-US" sz="1400" i="0" u="none" strike="noStrike" kern="1200" cap="none" spc="0" normalizeH="0" baseline="0" noProof="0" dirty="0">
              <a:ln>
                <a:noFill/>
              </a:ln>
              <a:solidFill>
                <a:srgbClr val="817A6C"/>
              </a:solidFill>
              <a:effectLst/>
              <a:uLnTx/>
              <a:uFillTx/>
              <a:latin typeface="Arial" panose="020B0604020202020204" pitchFamily="34" charset="0"/>
              <a:ea typeface="+mj-ea"/>
              <a:cs typeface="Arial" panose="020B0604020202020204" pitchFamily="34" charset="0"/>
              <a:sym typeface="Sakkal Majalla" panose="02000000000000000000" pitchFamily="2" charset="-78"/>
            </a:endParaRPr>
          </a:p>
        </p:txBody>
      </p:sp>
      <p:sp>
        <p:nvSpPr>
          <p:cNvPr id="38" name="TextBox 37">
            <a:extLst>
              <a:ext uri="{FF2B5EF4-FFF2-40B4-BE49-F238E27FC236}">
                <a16:creationId xmlns:a16="http://schemas.microsoft.com/office/drawing/2014/main" id="{A72F8214-A03D-0697-C921-C43DE1957955}"/>
              </a:ext>
            </a:extLst>
          </p:cNvPr>
          <p:cNvSpPr txBox="1"/>
          <p:nvPr/>
        </p:nvSpPr>
        <p:spPr>
          <a:xfrm>
            <a:off x="7388266" y="3429000"/>
            <a:ext cx="1731288" cy="1837426"/>
          </a:xfrm>
          <a:prstGeom prst="rect">
            <a:avLst/>
          </a:prstGeom>
          <a:noFill/>
        </p:spPr>
        <p:txBody>
          <a:bodyPr wrap="square">
            <a:spAutoFit/>
          </a:bodyPr>
          <a:lstStyle/>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Held in Bahrain.</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The Kingdom of Morocco joined.</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Announcement of 5 new projects and agreements in the sectors of metals and electric vehicles.</a:t>
            </a:r>
            <a:endParaRPr kumimoji="0" lang="en-US" sz="1400" i="0" u="none" strike="noStrike" kern="1200" cap="none" spc="0" normalizeH="0" baseline="0" noProof="0" dirty="0">
              <a:ln>
                <a:noFill/>
              </a:ln>
              <a:solidFill>
                <a:srgbClr val="817A6C"/>
              </a:solidFill>
              <a:effectLst/>
              <a:uLnTx/>
              <a:uFillTx/>
              <a:latin typeface="Arial" panose="020B0604020202020204" pitchFamily="34" charset="0"/>
              <a:ea typeface="+mj-ea"/>
              <a:cs typeface="Arial" panose="020B0604020202020204" pitchFamily="34" charset="0"/>
              <a:sym typeface="Sakkal Majalla" panose="02000000000000000000" pitchFamily="2" charset="-78"/>
            </a:endParaRPr>
          </a:p>
        </p:txBody>
      </p:sp>
      <p:sp>
        <p:nvSpPr>
          <p:cNvPr id="12" name="Rectangle 11">
            <a:extLst>
              <a:ext uri="{FF2B5EF4-FFF2-40B4-BE49-F238E27FC236}">
                <a16:creationId xmlns:a16="http://schemas.microsoft.com/office/drawing/2014/main" id="{6FFE1F04-D5EE-7D55-2362-B74B6EFAF7D5}"/>
              </a:ext>
            </a:extLst>
          </p:cNvPr>
          <p:cNvSpPr/>
          <p:nvPr/>
        </p:nvSpPr>
        <p:spPr>
          <a:xfrm>
            <a:off x="9513463" y="1300896"/>
            <a:ext cx="2408301" cy="544959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8" name="Title 2">
            <a:extLst>
              <a:ext uri="{FF2B5EF4-FFF2-40B4-BE49-F238E27FC236}">
                <a16:creationId xmlns:a16="http://schemas.microsoft.com/office/drawing/2014/main" id="{97E6D132-5EFE-5B15-C3B0-DAFF43DBE12E}"/>
              </a:ext>
            </a:extLst>
          </p:cNvPr>
          <p:cNvSpPr txBox="1">
            <a:spLocks/>
          </p:cNvSpPr>
          <p:nvPr/>
        </p:nvSpPr>
        <p:spPr>
          <a:xfrm flipH="1">
            <a:off x="9963836" y="1389849"/>
            <a:ext cx="1660923" cy="362186"/>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ts val="900"/>
              </a:spcBef>
              <a:spcAft>
                <a:spcPts val="0"/>
              </a:spcAft>
              <a:buClrTx/>
              <a:buSzTx/>
              <a:buFontTx/>
              <a:buNone/>
              <a:tabLst/>
              <a:defRPr/>
            </a:pPr>
            <a:r>
              <a:rPr kumimoji="0" lang="en-US" sz="18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February 2025</a:t>
            </a:r>
            <a:endParaRPr kumimoji="0" lang="ar-EG" sz="18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20" name="Title 2">
            <a:extLst>
              <a:ext uri="{FF2B5EF4-FFF2-40B4-BE49-F238E27FC236}">
                <a16:creationId xmlns:a16="http://schemas.microsoft.com/office/drawing/2014/main" id="{873C26D0-E2CF-4130-FA9C-A3AC1545E296}"/>
              </a:ext>
            </a:extLst>
          </p:cNvPr>
          <p:cNvSpPr txBox="1">
            <a:spLocks/>
          </p:cNvSpPr>
          <p:nvPr/>
        </p:nvSpPr>
        <p:spPr>
          <a:xfrm rot="16200000" flipH="1">
            <a:off x="8208183" y="4815368"/>
            <a:ext cx="3173783" cy="286489"/>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lang="en-US" sz="1500" dirty="0">
                <a:solidFill>
                  <a:srgbClr val="7F6000"/>
                </a:solidFill>
                <a:latin typeface="Arial" panose="020B0604020202020204" pitchFamily="34" charset="0"/>
                <a:cs typeface="Arial" panose="020B0604020202020204" pitchFamily="34" charset="0"/>
                <a:sym typeface="Sakkal Majalla" panose="02000000000000000000" pitchFamily="2" charset="-78"/>
              </a:rPr>
              <a:t>5th Higher Committee Meeting</a:t>
            </a:r>
            <a:endParaRPr lang="ar-EG" sz="1500" dirty="0">
              <a:solidFill>
                <a:srgbClr val="7F6000"/>
              </a:solidFill>
              <a:latin typeface="Arial" panose="020B0604020202020204" pitchFamily="34" charset="0"/>
              <a:cs typeface="Arial" panose="020B0604020202020204" pitchFamily="34" charset="0"/>
              <a:sym typeface="Sakkal Majalla" panose="02000000000000000000" pitchFamily="2" charset="-78"/>
            </a:endParaRPr>
          </a:p>
        </p:txBody>
      </p:sp>
      <p:pic>
        <p:nvPicPr>
          <p:cNvPr id="21" name="Picture 2">
            <a:extLst>
              <a:ext uri="{FF2B5EF4-FFF2-40B4-BE49-F238E27FC236}">
                <a16:creationId xmlns:a16="http://schemas.microsoft.com/office/drawing/2014/main" id="{A2D4DF6F-4230-6C1D-604B-BD5E91CBF533}"/>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p:blipFill>
        <p:spPr bwMode="auto">
          <a:xfrm>
            <a:off x="9522547" y="1803702"/>
            <a:ext cx="2357755" cy="1384289"/>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15140035-538A-BE8D-BA7E-D8DD960E46BC}"/>
              </a:ext>
            </a:extLst>
          </p:cNvPr>
          <p:cNvSpPr txBox="1"/>
          <p:nvPr/>
        </p:nvSpPr>
        <p:spPr>
          <a:xfrm>
            <a:off x="9893472" y="3429000"/>
            <a:ext cx="1731288" cy="2806922"/>
          </a:xfrm>
          <a:prstGeom prst="rect">
            <a:avLst/>
          </a:prstGeom>
          <a:noFill/>
        </p:spPr>
        <p:txBody>
          <a:bodyPr wrap="square">
            <a:spAutoFit/>
          </a:bodyPr>
          <a:lstStyle/>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Held in Qatar.</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The Republic of Turkey and State of Türkiye Join the partnership </a:t>
            </a:r>
          </a:p>
          <a:p>
            <a:pPr marL="166688" marR="0" lvl="0" indent="-166688" defTabSz="914400" eaLnBrk="1" fontAlgn="auto" latinLnBrk="0" hangingPunct="1">
              <a:lnSpc>
                <a:spcPct val="90000"/>
              </a:lnSpc>
              <a:spcAft>
                <a:spcPts val="0"/>
              </a:spcAft>
              <a:buClrTx/>
              <a:buSzTx/>
              <a:buFont typeface="Arial" panose="020B0604020202020204" pitchFamily="34" charset="0"/>
              <a:buChar char="•"/>
              <a:tabLst/>
              <a:defRPr/>
            </a:pPr>
            <a:r>
              <a:rPr lang="en-US" sz="1400" dirty="0">
                <a:solidFill>
                  <a:srgbClr val="817A6C"/>
                </a:solidFill>
                <a:latin typeface="Arial" panose="020B0604020202020204" pitchFamily="34" charset="0"/>
                <a:ea typeface="+mj-ea"/>
                <a:cs typeface="Arial" panose="020B0604020202020204" pitchFamily="34" charset="0"/>
                <a:sym typeface="Sakkal Majalla" panose="02000000000000000000" pitchFamily="2" charset="-78"/>
              </a:rPr>
              <a:t>Announcement of 12 new projects and agreements in the sectors of food, metals and electrical equipment worth USD 2 Billion</a:t>
            </a:r>
            <a:endParaRPr kumimoji="0" lang="en-US" sz="1400" i="0" u="none" strike="noStrike" kern="1200" cap="none" spc="0" normalizeH="0" baseline="0" noProof="0" dirty="0">
              <a:ln>
                <a:noFill/>
              </a:ln>
              <a:solidFill>
                <a:srgbClr val="817A6C"/>
              </a:solidFill>
              <a:effectLst/>
              <a:uLnTx/>
              <a:uFillTx/>
              <a:latin typeface="Arial" panose="020B0604020202020204" pitchFamily="34" charset="0"/>
              <a:ea typeface="+mj-ea"/>
              <a:cs typeface="Arial" panose="020B0604020202020204" pitchFamily="34" charset="0"/>
              <a:sym typeface="Sakkal Majalla" panose="02000000000000000000" pitchFamily="2" charset="-78"/>
            </a:endParaRPr>
          </a:p>
        </p:txBody>
      </p:sp>
    </p:spTree>
    <p:custDataLst>
      <p:custData r:id="rId1"/>
    </p:custDataLst>
    <p:extLst>
      <p:ext uri="{BB962C8B-B14F-4D97-AF65-F5344CB8AC3E}">
        <p14:creationId xmlns:p14="http://schemas.microsoft.com/office/powerpoint/2010/main" val="29411074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DCAF57-717B-A462-85B6-A2BDE68DDE0B}"/>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id="{FF736721-0B07-A90E-DD09-86CE50AB16BE}"/>
              </a:ext>
            </a:extLst>
          </p:cNvPr>
          <p:cNvGraphicFramePr>
            <a:graphicFrameLocks noChangeAspect="1"/>
          </p:cNvGraphicFramePr>
          <p:nvPr>
            <p:custDataLst>
              <p:tags r:id="rId2"/>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name="think-cell Slide" r:id="rId6" imgW="606" imgH="608" progId="TCLayout.ActiveDocument.1">
                  <p:embed/>
                </p:oleObj>
              </mc:Choice>
              <mc:Fallback>
                <p:oleObj name="think-cell Slide" r:id="rId6" imgW="606" imgH="608" progId="TCLayout.ActiveDocument.1">
                  <p:embed/>
                  <p:pic>
                    <p:nvPicPr>
                      <p:cNvPr id="4" name="Object 3" hidden="1">
                        <a:extLst>
                          <a:ext uri="{FF2B5EF4-FFF2-40B4-BE49-F238E27FC236}">
                            <a16:creationId xmlns:a16="http://schemas.microsoft.com/office/drawing/2014/main" id="{FF736721-0B07-A90E-DD09-86CE50AB16BE}"/>
                          </a:ext>
                        </a:extLst>
                      </p:cNvPr>
                      <p:cNvPicPr/>
                      <p:nvPr/>
                    </p:nvPicPr>
                    <p:blipFill>
                      <a:blip r:embed="rId7"/>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B4E62F7-9235-1365-0FF8-E828D288AF8F}"/>
              </a:ext>
            </a:extLst>
          </p:cNvPr>
          <p:cNvSpPr/>
          <p:nvPr>
            <p:custDataLst>
              <p:tags r:id="rId3"/>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id="{F2A511B5-D921-85A1-8BEF-6B289BE7E139}"/>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mn-cs"/>
                <a:sym typeface="Sakkal Majalla" panose="02000000000000000000" pitchFamily="2" charset="-78"/>
              </a:rPr>
              <a:t>The economic factors of the partnering countries combined.</a:t>
            </a:r>
          </a:p>
        </p:txBody>
      </p:sp>
      <p:cxnSp>
        <p:nvCxnSpPr>
          <p:cNvPr id="2" name="Straight Connector 1">
            <a:extLst>
              <a:ext uri="{FF2B5EF4-FFF2-40B4-BE49-F238E27FC236}">
                <a16:creationId xmlns:a16="http://schemas.microsoft.com/office/drawing/2014/main" id="{D3B89B2E-54E0-1BB1-41C8-4FBEB3576230}"/>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17">
            <a:extLst>
              <a:ext uri="{FF2B5EF4-FFF2-40B4-BE49-F238E27FC236}">
                <a16:creationId xmlns:a16="http://schemas.microsoft.com/office/drawing/2014/main" id="{D9A1FA87-0EA5-5A02-B24D-AED023B2CC04}"/>
              </a:ext>
            </a:extLst>
          </p:cNvPr>
          <p:cNvSpPr/>
          <p:nvPr/>
        </p:nvSpPr>
        <p:spPr>
          <a:xfrm rot="10800000">
            <a:off x="12056882" y="0"/>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endParaRPr>
          </a:p>
        </p:txBody>
      </p:sp>
      <p:sp>
        <p:nvSpPr>
          <p:cNvPr id="101" name="Rectangle 100">
            <a:extLst>
              <a:ext uri="{FF2B5EF4-FFF2-40B4-BE49-F238E27FC236}">
                <a16:creationId xmlns:a16="http://schemas.microsoft.com/office/drawing/2014/main" id="{42804414-8F25-1085-8317-20689F6FF939}"/>
              </a:ext>
            </a:extLst>
          </p:cNvPr>
          <p:cNvSpPr/>
          <p:nvPr/>
        </p:nvSpPr>
        <p:spPr>
          <a:xfrm>
            <a:off x="805698" y="1417190"/>
            <a:ext cx="11175099" cy="4205485"/>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endParaRPr>
          </a:p>
        </p:txBody>
      </p:sp>
      <p:cxnSp>
        <p:nvCxnSpPr>
          <p:cNvPr id="102" name="Straight Connector 101">
            <a:extLst>
              <a:ext uri="{FF2B5EF4-FFF2-40B4-BE49-F238E27FC236}">
                <a16:creationId xmlns:a16="http://schemas.microsoft.com/office/drawing/2014/main" id="{C229EE91-E643-7E79-DCA7-5EBD0A7E4363}"/>
              </a:ext>
            </a:extLst>
          </p:cNvPr>
          <p:cNvCxnSpPr/>
          <p:nvPr/>
        </p:nvCxnSpPr>
        <p:spPr>
          <a:xfrm>
            <a:off x="578738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3F756A01-BD25-1D8A-3656-C2BECD3CE141}"/>
              </a:ext>
            </a:extLst>
          </p:cNvPr>
          <p:cNvSpPr/>
          <p:nvPr/>
        </p:nvSpPr>
        <p:spPr>
          <a:xfrm>
            <a:off x="805698" y="2704756"/>
            <a:ext cx="3545341" cy="69827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05" name="TextBox 104">
            <a:extLst>
              <a:ext uri="{FF2B5EF4-FFF2-40B4-BE49-F238E27FC236}">
                <a16:creationId xmlns:a16="http://schemas.microsoft.com/office/drawing/2014/main" id="{7EB2C664-D3C1-BDF1-892A-B40A61465312}"/>
              </a:ext>
            </a:extLst>
          </p:cNvPr>
          <p:cNvSpPr txBox="1"/>
          <p:nvPr/>
        </p:nvSpPr>
        <p:spPr>
          <a:xfrm>
            <a:off x="-434197" y="2852931"/>
            <a:ext cx="6099142" cy="433965"/>
          </a:xfrm>
          <a:prstGeom prst="rect">
            <a:avLst/>
          </a:prstGeom>
          <a:noFill/>
        </p:spPr>
        <p:txBody>
          <a:bodyPr wrap="square">
            <a:spAutoFit/>
          </a:bodyPr>
          <a:lstStyle>
            <a:defPPr>
              <a:defRPr lang="en-US"/>
            </a:defPPr>
            <a:lvl1pPr marR="0" lvl="0" indent="0" algn="ctr" rtl="1" fontAlgn="auto">
              <a:lnSpc>
                <a:spcPct val="90000"/>
              </a:lnSpc>
              <a:spcBef>
                <a:spcPct val="0"/>
              </a:spcBef>
              <a:spcAft>
                <a:spcPts val="0"/>
              </a:spcAft>
              <a:buClrTx/>
              <a:buSzTx/>
              <a:buFontTx/>
              <a:buNone/>
              <a:tabLst/>
              <a:defRPr sz="2400" b="1">
                <a:solidFill>
                  <a:srgbClr val="7F6000"/>
                </a:solidFill>
                <a:latin typeface="Arial" panose="020B0604020202020204" pitchFamily="34" charset="0"/>
                <a:ea typeface="+mj-ea"/>
                <a:cs typeface="Arial" panose="020B0604020202020204" pitchFamily="34" charset="0"/>
              </a:defRPr>
            </a:lvl1pPr>
          </a:lstStyle>
          <a:p>
            <a:r>
              <a:rPr lang="en-US" dirty="0">
                <a:sym typeface="Sakkal Majalla" panose="02000000000000000000" pitchFamily="2" charset="-78"/>
              </a:rPr>
              <a:t>GDP</a:t>
            </a:r>
            <a:endParaRPr lang="ar-EG" dirty="0">
              <a:sym typeface="Sakkal Majalla" panose="02000000000000000000" pitchFamily="2" charset="-78"/>
            </a:endParaRPr>
          </a:p>
        </p:txBody>
      </p:sp>
      <p:sp>
        <p:nvSpPr>
          <p:cNvPr id="106" name="Rectangle 105">
            <a:extLst>
              <a:ext uri="{FF2B5EF4-FFF2-40B4-BE49-F238E27FC236}">
                <a16:creationId xmlns:a16="http://schemas.microsoft.com/office/drawing/2014/main" id="{830B2948-04E5-6EB9-5E7D-E49723C2386E}"/>
              </a:ext>
            </a:extLst>
          </p:cNvPr>
          <p:cNvSpPr/>
          <p:nvPr/>
        </p:nvSpPr>
        <p:spPr>
          <a:xfrm>
            <a:off x="805698" y="1417190"/>
            <a:ext cx="3545341" cy="1997439"/>
          </a:xfrm>
          <a:prstGeom prst="rect">
            <a:avLst/>
          </a:prstGeom>
          <a:noFill/>
          <a:ln>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7" name="Group 106">
            <a:extLst>
              <a:ext uri="{FF2B5EF4-FFF2-40B4-BE49-F238E27FC236}">
                <a16:creationId xmlns:a16="http://schemas.microsoft.com/office/drawing/2014/main" id="{D7750793-D402-1CB4-29C6-A362307552AA}"/>
              </a:ext>
            </a:extLst>
          </p:cNvPr>
          <p:cNvGrpSpPr/>
          <p:nvPr/>
        </p:nvGrpSpPr>
        <p:grpSpPr>
          <a:xfrm>
            <a:off x="7209883" y="1427695"/>
            <a:ext cx="6099142" cy="2001305"/>
            <a:chOff x="-434197" y="1417190"/>
            <a:chExt cx="6099142" cy="2001305"/>
          </a:xfrm>
        </p:grpSpPr>
        <p:sp>
          <p:nvSpPr>
            <p:cNvPr id="108" name="Rectangle 107">
              <a:extLst>
                <a:ext uri="{FF2B5EF4-FFF2-40B4-BE49-F238E27FC236}">
                  <a16:creationId xmlns:a16="http://schemas.microsoft.com/office/drawing/2014/main" id="{CAE0CA94-027A-FAFF-2789-614EA4535161}"/>
                </a:ext>
              </a:extLst>
            </p:cNvPr>
            <p:cNvSpPr/>
            <p:nvPr/>
          </p:nvSpPr>
          <p:spPr>
            <a:xfrm>
              <a:off x="805698" y="2704757"/>
              <a:ext cx="3545341" cy="71373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09" name="TextBox 108">
              <a:extLst>
                <a:ext uri="{FF2B5EF4-FFF2-40B4-BE49-F238E27FC236}">
                  <a16:creationId xmlns:a16="http://schemas.microsoft.com/office/drawing/2014/main" id="{C4A5F37E-F97A-E197-5F5F-5CECA00E89E1}"/>
                </a:ext>
              </a:extLst>
            </p:cNvPr>
            <p:cNvSpPr txBox="1"/>
            <p:nvPr/>
          </p:nvSpPr>
          <p:spPr>
            <a:xfrm>
              <a:off x="-434197" y="2829998"/>
              <a:ext cx="6099142" cy="433965"/>
            </a:xfrm>
            <a:prstGeom prst="rect">
              <a:avLst/>
            </a:prstGeom>
            <a:noFill/>
          </p:spPr>
          <p:txBody>
            <a:bodyPr wrap="square">
              <a:spAutoFit/>
            </a:bodyPr>
            <a:lstStyle>
              <a:defPPr>
                <a:defRPr lang="en-US"/>
              </a:defPPr>
              <a:lvl1pPr marR="0" lvl="0" indent="0" algn="ctr" rtl="1" fontAlgn="auto">
                <a:lnSpc>
                  <a:spcPct val="90000"/>
                </a:lnSpc>
                <a:spcBef>
                  <a:spcPct val="0"/>
                </a:spcBef>
                <a:spcAft>
                  <a:spcPts val="0"/>
                </a:spcAft>
                <a:buClrTx/>
                <a:buSzTx/>
                <a:buFontTx/>
                <a:buNone/>
                <a:tabLst/>
                <a:defRPr sz="2400" b="1">
                  <a:solidFill>
                    <a:srgbClr val="7F6000"/>
                  </a:solidFill>
                  <a:latin typeface="Arial" panose="020B0604020202020204" pitchFamily="34" charset="0"/>
                  <a:ea typeface="+mj-ea"/>
                  <a:cs typeface="Arial" panose="020B0604020202020204" pitchFamily="34" charset="0"/>
                </a:defRPr>
              </a:lvl1pPr>
            </a:lstStyle>
            <a:p>
              <a:r>
                <a:rPr lang="en-US" dirty="0">
                  <a:sym typeface="Sakkal Majalla" panose="02000000000000000000" pitchFamily="2" charset="-78"/>
                </a:rPr>
                <a:t>Partnership Countries</a:t>
              </a:r>
              <a:endParaRPr lang="ar-AE" dirty="0">
                <a:sym typeface="Sakkal Majalla" panose="02000000000000000000" pitchFamily="2" charset="-78"/>
              </a:endParaRPr>
            </a:p>
          </p:txBody>
        </p:sp>
        <p:sp>
          <p:nvSpPr>
            <p:cNvPr id="110" name="Rectangle 109">
              <a:extLst>
                <a:ext uri="{FF2B5EF4-FFF2-40B4-BE49-F238E27FC236}">
                  <a16:creationId xmlns:a16="http://schemas.microsoft.com/office/drawing/2014/main" id="{0CBEBBD4-622C-02C5-FD70-4FA11FB02D5A}"/>
                </a:ext>
              </a:extLst>
            </p:cNvPr>
            <p:cNvSpPr/>
            <p:nvPr/>
          </p:nvSpPr>
          <p:spPr>
            <a:xfrm>
              <a:off x="805698" y="1417190"/>
              <a:ext cx="3545341" cy="1997439"/>
            </a:xfrm>
            <a:prstGeom prst="rect">
              <a:avLst/>
            </a:prstGeom>
            <a:noFill/>
            <a:ln>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2" name="Group 111">
            <a:extLst>
              <a:ext uri="{FF2B5EF4-FFF2-40B4-BE49-F238E27FC236}">
                <a16:creationId xmlns:a16="http://schemas.microsoft.com/office/drawing/2014/main" id="{CDE45AF1-7FE4-C44F-E5C2-B02A3E16C5A8}"/>
              </a:ext>
            </a:extLst>
          </p:cNvPr>
          <p:cNvGrpSpPr/>
          <p:nvPr/>
        </p:nvGrpSpPr>
        <p:grpSpPr>
          <a:xfrm>
            <a:off x="4198736" y="5963196"/>
            <a:ext cx="4606355" cy="486655"/>
            <a:chOff x="662556" y="5909647"/>
            <a:chExt cx="6263168" cy="726974"/>
          </a:xfrm>
        </p:grpSpPr>
        <p:pic>
          <p:nvPicPr>
            <p:cNvPr id="140" name="flag_UAE">
              <a:extLst>
                <a:ext uri="{FF2B5EF4-FFF2-40B4-BE49-F238E27FC236}">
                  <a16:creationId xmlns:a16="http://schemas.microsoft.com/office/drawing/2014/main" id="{7EF48819-DEF2-B455-8C5B-E1E663D0A801}"/>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6225134" y="5936031"/>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1" name="flag_egypt">
              <a:extLst>
                <a:ext uri="{FF2B5EF4-FFF2-40B4-BE49-F238E27FC236}">
                  <a16:creationId xmlns:a16="http://schemas.microsoft.com/office/drawing/2014/main" id="{8E77C788-F8B8-7B59-0AE6-049389249E88}"/>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5319308" y="5936031"/>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2" name="flag_jordan">
              <a:extLst>
                <a:ext uri="{FF2B5EF4-FFF2-40B4-BE49-F238E27FC236}">
                  <a16:creationId xmlns:a16="http://schemas.microsoft.com/office/drawing/2014/main" id="{BAA9EDF8-DD47-3AA8-A810-BF2A5ABACC43}"/>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4385202" y="5936031"/>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19050">
                  <a:gradFill flip="none" rotWithShape="1">
                    <a:gsLst>
                      <a:gs pos="0">
                        <a:schemeClr val="accent2"/>
                      </a:gs>
                      <a:gs pos="100000">
                        <a:schemeClr val="tx2"/>
                      </a:gs>
                    </a:gsLst>
                    <a:lin ang="2700000" scaled="1"/>
                    <a:tileRect/>
                  </a:gradFill>
                </a14:hiddenLine>
              </a:ext>
            </a:extLst>
          </p:spPr>
        </p:pic>
        <p:pic>
          <p:nvPicPr>
            <p:cNvPr id="143" name="Picture 2" descr="‫علم المغرب from ar.wikipedia.org‬‎">
              <a:extLst>
                <a:ext uri="{FF2B5EF4-FFF2-40B4-BE49-F238E27FC236}">
                  <a16:creationId xmlns:a16="http://schemas.microsoft.com/office/drawing/2014/main" id="{6A877B4C-03C7-FD3A-D161-A426C448FBCD}"/>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441804" y="5909647"/>
              <a:ext cx="700590" cy="700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4" name="Picture 4">
              <a:extLst>
                <a:ext uri="{FF2B5EF4-FFF2-40B4-BE49-F238E27FC236}">
                  <a16:creationId xmlns:a16="http://schemas.microsoft.com/office/drawing/2014/main" id="{1396EF9C-C629-9A0A-896F-C60F7F14BB8A}"/>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347630" y="5936031"/>
              <a:ext cx="804056" cy="66746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5" name="Picture 2" descr="Turkey - Wikipedia">
              <a:extLst>
                <a:ext uri="{FF2B5EF4-FFF2-40B4-BE49-F238E27FC236}">
                  <a16:creationId xmlns:a16="http://schemas.microsoft.com/office/drawing/2014/main" id="{DFFE668D-DD48-EC68-812A-5B3F64665041}"/>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662556" y="5936030"/>
              <a:ext cx="750391" cy="67419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6" name="Picture 4" descr="2,400+ Qatar Qatari Flag Stock Illustrations, Royalty-Free Vector Graphics  &amp; Clip Art - iStock">
              <a:extLst>
                <a:ext uri="{FF2B5EF4-FFF2-40B4-BE49-F238E27FC236}">
                  <a16:creationId xmlns:a16="http://schemas.microsoft.com/office/drawing/2014/main" id="{3CD5A15F-59ED-1CC4-8F7D-903A3C691F26}"/>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573944" y="5914597"/>
              <a:ext cx="706863" cy="6956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113" name="Title 2">
            <a:extLst>
              <a:ext uri="{FF2B5EF4-FFF2-40B4-BE49-F238E27FC236}">
                <a16:creationId xmlns:a16="http://schemas.microsoft.com/office/drawing/2014/main" id="{3A0FC6BB-B547-BB02-FB43-1CA83DC84C6A}"/>
              </a:ext>
            </a:extLst>
          </p:cNvPr>
          <p:cNvSpPr txBox="1">
            <a:spLocks/>
          </p:cNvSpPr>
          <p:nvPr/>
        </p:nvSpPr>
        <p:spPr>
          <a:xfrm flipH="1">
            <a:off x="8867597" y="1986023"/>
            <a:ext cx="2837049" cy="362186"/>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ar-AE" sz="3200" b="1" i="0" u="none" strike="noStrike" kern="1200" cap="none" spc="0" normalizeH="0" baseline="0" noProof="0" dirty="0">
                <a:ln>
                  <a:noFill/>
                </a:ln>
                <a:solidFill>
                  <a:srgbClr val="7F6000"/>
                </a:solidFill>
                <a:effectLst/>
                <a:uLnTx/>
                <a:uFillTx/>
                <a:latin typeface="Janna LT" panose="01000000000000000000" pitchFamily="2" charset="-78"/>
                <a:ea typeface="+mj-ea"/>
                <a:cs typeface="+mn-cs"/>
                <a:sym typeface="Sakkal Majalla" panose="02000000000000000000" pitchFamily="2" charset="-78"/>
              </a:rPr>
              <a:t>7</a:t>
            </a:r>
          </a:p>
          <a:p>
            <a:pPr marL="0" marR="0" lvl="0" indent="0" algn="ctr" defTabSz="914400" rtl="1" eaLnBrk="1" fontAlgn="auto" latinLnBrk="0" hangingPunct="1">
              <a:lnSpc>
                <a:spcPct val="90000"/>
              </a:lnSpc>
              <a:spcBef>
                <a:spcPct val="0"/>
              </a:spcBef>
              <a:spcAft>
                <a:spcPts val="0"/>
              </a:spcAft>
              <a:buClrTx/>
              <a:buSzTx/>
              <a:buFontTx/>
              <a:buNone/>
              <a:tabLst/>
              <a:defRPr/>
            </a:pPr>
            <a:endParaRPr kumimoji="0" lang="ar-AE" sz="3200" b="1" i="0" u="none" strike="noStrike" kern="1200" cap="none" spc="0" normalizeH="0" baseline="0" noProof="0" dirty="0">
              <a:ln>
                <a:noFill/>
              </a:ln>
              <a:solidFill>
                <a:srgbClr val="7F6000"/>
              </a:solidFill>
              <a:effectLst/>
              <a:uLnTx/>
              <a:uFillTx/>
              <a:latin typeface="Janna LT" panose="01000000000000000000" pitchFamily="2" charset="-78"/>
              <a:ea typeface="+mj-ea"/>
              <a:cs typeface="+mn-cs"/>
              <a:sym typeface="Sakkal Majalla" panose="02000000000000000000" pitchFamily="2" charset="-78"/>
            </a:endParaRPr>
          </a:p>
        </p:txBody>
      </p:sp>
      <p:sp>
        <p:nvSpPr>
          <p:cNvPr id="114" name="Title 2">
            <a:extLst>
              <a:ext uri="{FF2B5EF4-FFF2-40B4-BE49-F238E27FC236}">
                <a16:creationId xmlns:a16="http://schemas.microsoft.com/office/drawing/2014/main" id="{78635EB2-E1CD-8103-41EC-EAB22C392E25}"/>
              </a:ext>
            </a:extLst>
          </p:cNvPr>
          <p:cNvSpPr txBox="1">
            <a:spLocks/>
          </p:cNvSpPr>
          <p:nvPr/>
        </p:nvSpPr>
        <p:spPr>
          <a:xfrm flipH="1">
            <a:off x="4871626" y="1923648"/>
            <a:ext cx="3313112" cy="362186"/>
          </a:xfrm>
          <a:prstGeom prst="rect">
            <a:avLst/>
          </a:prstGeom>
        </p:spPr>
        <p:txBody>
          <a:bodyPr vert="horz" wrap="square" lIns="0" tIns="0" rIns="0" bIns="0" rtlCol="0" anchor="t">
            <a:noAutofit/>
          </a:bodyPr>
          <a:lstStyle>
            <a:defPPr>
              <a:defRPr lang="en-US"/>
            </a:defPPr>
            <a:lvl1pPr marR="0" lvl="0" indent="0" algn="ctr" rtl="1" fontAlgn="auto">
              <a:lnSpc>
                <a:spcPct val="90000"/>
              </a:lnSpc>
              <a:spcBef>
                <a:spcPct val="0"/>
              </a:spcBef>
              <a:spcAft>
                <a:spcPts val="0"/>
              </a:spcAft>
              <a:buClrTx/>
              <a:buSzTx/>
              <a:buFontTx/>
              <a:buNone/>
              <a:tabLst/>
              <a:defRPr kumimoji="0" sz="3200" b="1" i="0" u="none" strike="noStrike" cap="none" spc="0" normalizeH="0" baseline="0">
                <a:ln>
                  <a:noFill/>
                </a:ln>
                <a:solidFill>
                  <a:srgbClr val="7F6000"/>
                </a:solidFill>
                <a:effectLst/>
                <a:uLnTx/>
                <a:uFillTx/>
                <a:latin typeface="Janna LT" panose="01000000000000000000" pitchFamily="2" charset="-78"/>
                <a:ea typeface="+mj-ea"/>
              </a:defRPr>
            </a:lvl1pPr>
          </a:lstStyle>
          <a:p>
            <a:r>
              <a:rPr lang="en-US" dirty="0">
                <a:latin typeface="Arial" panose="020B0604020202020204" pitchFamily="34" charset="0"/>
                <a:cs typeface="Arial" panose="020B0604020202020204" pitchFamily="34" charset="0"/>
                <a:sym typeface="Sakkal Majalla" panose="02000000000000000000" pitchFamily="2" charset="-78"/>
              </a:rPr>
              <a:t>260</a:t>
            </a:r>
            <a:endParaRPr lang="ar-AE" dirty="0">
              <a:latin typeface="Arial" panose="020B0604020202020204" pitchFamily="34" charset="0"/>
              <a:cs typeface="Arial" panose="020B0604020202020204" pitchFamily="34" charset="0"/>
              <a:sym typeface="Sakkal Majalla" panose="02000000000000000000" pitchFamily="2" charset="-78"/>
            </a:endParaRPr>
          </a:p>
        </p:txBody>
      </p:sp>
      <p:sp>
        <p:nvSpPr>
          <p:cNvPr id="115" name="Rectangle 114">
            <a:extLst>
              <a:ext uri="{FF2B5EF4-FFF2-40B4-BE49-F238E27FC236}">
                <a16:creationId xmlns:a16="http://schemas.microsoft.com/office/drawing/2014/main" id="{AECFED0F-A7E6-FDCD-3789-598CAA5D93C9}"/>
              </a:ext>
            </a:extLst>
          </p:cNvPr>
          <p:cNvSpPr/>
          <p:nvPr/>
        </p:nvSpPr>
        <p:spPr>
          <a:xfrm>
            <a:off x="813018" y="4924402"/>
            <a:ext cx="3545341" cy="69827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16" name="Title 2">
            <a:extLst>
              <a:ext uri="{FF2B5EF4-FFF2-40B4-BE49-F238E27FC236}">
                <a16:creationId xmlns:a16="http://schemas.microsoft.com/office/drawing/2014/main" id="{FE80B7B9-5A3C-DE73-1B7A-10551C5D9709}"/>
              </a:ext>
            </a:extLst>
          </p:cNvPr>
          <p:cNvSpPr txBox="1">
            <a:spLocks/>
          </p:cNvSpPr>
          <p:nvPr/>
        </p:nvSpPr>
        <p:spPr>
          <a:xfrm flipH="1">
            <a:off x="4809520" y="3948888"/>
            <a:ext cx="3313112" cy="362186"/>
          </a:xfrm>
          <a:prstGeom prst="rect">
            <a:avLst/>
          </a:prstGeom>
        </p:spPr>
        <p:txBody>
          <a:bodyPr vert="horz" wrap="square" lIns="0" tIns="0" rIns="0" bIns="0" rtlCol="0" anchor="t">
            <a:noAutofit/>
          </a:bodyPr>
          <a:lstStyle>
            <a:defPPr>
              <a:defRPr lang="en-US"/>
            </a:defPPr>
            <a:lvl1pPr marR="0" lvl="0" indent="0" algn="ctr" rtl="1" fontAlgn="auto">
              <a:lnSpc>
                <a:spcPct val="90000"/>
              </a:lnSpc>
              <a:spcBef>
                <a:spcPct val="0"/>
              </a:spcBef>
              <a:spcAft>
                <a:spcPts val="0"/>
              </a:spcAft>
              <a:buClrTx/>
              <a:buSzTx/>
              <a:buFontTx/>
              <a:buNone/>
              <a:tabLst/>
              <a:defRPr kumimoji="0" sz="3200" b="1" i="0" u="none" strike="noStrike" cap="none" spc="0" normalizeH="0" baseline="0">
                <a:ln>
                  <a:noFill/>
                </a:ln>
                <a:solidFill>
                  <a:srgbClr val="7F6000"/>
                </a:solidFill>
                <a:effectLst/>
                <a:uLnTx/>
                <a:uFillTx/>
                <a:latin typeface="Arial" panose="020B0604020202020204" pitchFamily="34" charset="0"/>
                <a:ea typeface="+mj-ea"/>
                <a:cs typeface="Arial" panose="020B0604020202020204" pitchFamily="34" charset="0"/>
              </a:defRPr>
            </a:lvl1pPr>
          </a:lstStyle>
          <a:p>
            <a:r>
              <a:rPr lang="en-US" dirty="0">
                <a:sym typeface="Sakkal Majalla" panose="02000000000000000000" pitchFamily="2" charset="-78"/>
              </a:rPr>
              <a:t>435</a:t>
            </a:r>
            <a:endParaRPr lang="ar-AE" dirty="0">
              <a:sym typeface="Sakkal Majalla" panose="02000000000000000000" pitchFamily="2" charset="-78"/>
            </a:endParaRPr>
          </a:p>
          <a:p>
            <a:endParaRPr lang="ar-AE" dirty="0">
              <a:sym typeface="Sakkal Majalla" panose="02000000000000000000" pitchFamily="2" charset="-78"/>
            </a:endParaRPr>
          </a:p>
        </p:txBody>
      </p:sp>
      <p:sp>
        <p:nvSpPr>
          <p:cNvPr id="117" name="Title 2">
            <a:extLst>
              <a:ext uri="{FF2B5EF4-FFF2-40B4-BE49-F238E27FC236}">
                <a16:creationId xmlns:a16="http://schemas.microsoft.com/office/drawing/2014/main" id="{E9F754C0-6A30-C57D-F22E-7F2551EBBFD9}"/>
              </a:ext>
            </a:extLst>
          </p:cNvPr>
          <p:cNvSpPr txBox="1">
            <a:spLocks/>
          </p:cNvSpPr>
          <p:nvPr/>
        </p:nvSpPr>
        <p:spPr>
          <a:xfrm flipH="1">
            <a:off x="5504256" y="2384591"/>
            <a:ext cx="1905878" cy="362186"/>
          </a:xfrm>
          <a:prstGeom prst="rect">
            <a:avLst/>
          </a:prstGeom>
        </p:spPr>
        <p:txBody>
          <a:bodyPr vert="horz" wrap="square" lIns="0" tIns="0" rIns="0" bIns="0" rtlCol="0" anchor="t">
            <a:noAutofit/>
          </a:bodyPr>
          <a:lstStyle>
            <a:defPPr>
              <a:defRPr lang="en-US"/>
            </a:defPPr>
            <a:lvl1pPr marR="0" lvl="0" indent="0" algn="ctr" rtl="1" fontAlgn="auto">
              <a:lnSpc>
                <a:spcPct val="90000"/>
              </a:lnSpc>
              <a:spcBef>
                <a:spcPts val="900"/>
              </a:spcBef>
              <a:spcAft>
                <a:spcPts val="0"/>
              </a:spcAft>
              <a:buClrTx/>
              <a:buSzTx/>
              <a:buFontTx/>
              <a:buNone/>
              <a:tabLst/>
              <a:defRPr kumimoji="0" b="1" i="0" u="none" strike="noStrike" cap="none" spc="0" normalizeH="0" baseline="0">
                <a:ln>
                  <a:noFill/>
                </a:ln>
                <a:solidFill>
                  <a:srgbClr val="817A6C"/>
                </a:solidFill>
                <a:effectLst/>
                <a:uLnTx/>
                <a:uFillTx/>
                <a:latin typeface="Arial" panose="020B0604020202020204" pitchFamily="34" charset="0"/>
                <a:ea typeface="+mj-ea"/>
                <a:cs typeface="Arial" panose="020B0604020202020204" pitchFamily="34" charset="0"/>
              </a:defRPr>
            </a:lvl1pPr>
          </a:lstStyle>
          <a:p>
            <a:r>
              <a:rPr lang="en-US" dirty="0">
                <a:sym typeface="Sakkal Majalla" panose="02000000000000000000" pitchFamily="2" charset="-78"/>
              </a:rPr>
              <a:t>Million</a:t>
            </a:r>
            <a:endParaRPr lang="ar-EG" dirty="0">
              <a:sym typeface="Sakkal Majalla" panose="02000000000000000000" pitchFamily="2" charset="-78"/>
            </a:endParaRPr>
          </a:p>
        </p:txBody>
      </p:sp>
      <p:grpSp>
        <p:nvGrpSpPr>
          <p:cNvPr id="118" name="Group 117">
            <a:extLst>
              <a:ext uri="{FF2B5EF4-FFF2-40B4-BE49-F238E27FC236}">
                <a16:creationId xmlns:a16="http://schemas.microsoft.com/office/drawing/2014/main" id="{F4E19714-DEE2-88FD-2ABA-E800D7ED8EA7}"/>
              </a:ext>
            </a:extLst>
          </p:cNvPr>
          <p:cNvGrpSpPr/>
          <p:nvPr/>
        </p:nvGrpSpPr>
        <p:grpSpPr>
          <a:xfrm>
            <a:off x="8515018" y="3941921"/>
            <a:ext cx="3313112" cy="796102"/>
            <a:chOff x="906734" y="1923238"/>
            <a:chExt cx="3313112" cy="796102"/>
          </a:xfrm>
        </p:grpSpPr>
        <p:sp>
          <p:nvSpPr>
            <p:cNvPr id="138" name="Title 2">
              <a:extLst>
                <a:ext uri="{FF2B5EF4-FFF2-40B4-BE49-F238E27FC236}">
                  <a16:creationId xmlns:a16="http://schemas.microsoft.com/office/drawing/2014/main" id="{36E7BFE8-D838-9686-B4E7-A1B25994FE6E}"/>
                </a:ext>
              </a:extLst>
            </p:cNvPr>
            <p:cNvSpPr txBox="1">
              <a:spLocks/>
            </p:cNvSpPr>
            <p:nvPr/>
          </p:nvSpPr>
          <p:spPr>
            <a:xfrm flipH="1">
              <a:off x="906734" y="1923238"/>
              <a:ext cx="3313112" cy="362186"/>
            </a:xfrm>
            <a:prstGeom prst="rect">
              <a:avLst/>
            </a:prstGeom>
          </p:spPr>
          <p:txBody>
            <a:bodyPr vert="horz" wrap="square" lIns="0" tIns="0" rIns="0" bIns="0" rtlCol="0" anchor="t">
              <a:noAutofit/>
            </a:bodyPr>
            <a:lstStyle>
              <a:defPPr>
                <a:defRPr lang="en-US"/>
              </a:defPPr>
              <a:lvl1pPr marR="0" lvl="0" indent="0" algn="ctr" rtl="1" fontAlgn="auto">
                <a:lnSpc>
                  <a:spcPct val="90000"/>
                </a:lnSpc>
                <a:spcBef>
                  <a:spcPct val="0"/>
                </a:spcBef>
                <a:spcAft>
                  <a:spcPts val="0"/>
                </a:spcAft>
                <a:buClrTx/>
                <a:buSzTx/>
                <a:buFontTx/>
                <a:buNone/>
                <a:tabLst/>
                <a:defRPr kumimoji="0" sz="3200" b="1" i="0" u="none" strike="noStrike" cap="none" spc="0" normalizeH="0" baseline="0">
                  <a:ln>
                    <a:noFill/>
                  </a:ln>
                  <a:solidFill>
                    <a:srgbClr val="7F6000"/>
                  </a:solidFill>
                  <a:effectLst/>
                  <a:uLnTx/>
                  <a:uFillTx/>
                  <a:latin typeface="Arial" panose="020B0604020202020204" pitchFamily="34" charset="0"/>
                  <a:ea typeface="+mj-ea"/>
                  <a:cs typeface="Arial" panose="020B0604020202020204" pitchFamily="34" charset="0"/>
                </a:defRPr>
              </a:lvl1pPr>
            </a:lstStyle>
            <a:p>
              <a:r>
                <a:rPr lang="en-US" dirty="0">
                  <a:sym typeface="Sakkal Majalla" panose="02000000000000000000" pitchFamily="2" charset="-78"/>
                </a:rPr>
                <a:t>400</a:t>
              </a:r>
              <a:endParaRPr lang="ar-AE" dirty="0">
                <a:sym typeface="Sakkal Majalla" panose="02000000000000000000" pitchFamily="2" charset="-78"/>
              </a:endParaRPr>
            </a:p>
            <a:p>
              <a:endParaRPr lang="ar-AE" dirty="0">
                <a:sym typeface="Sakkal Majalla" panose="02000000000000000000" pitchFamily="2" charset="-78"/>
              </a:endParaRPr>
            </a:p>
          </p:txBody>
        </p:sp>
        <p:sp>
          <p:nvSpPr>
            <p:cNvPr id="139" name="Title 2">
              <a:extLst>
                <a:ext uri="{FF2B5EF4-FFF2-40B4-BE49-F238E27FC236}">
                  <a16:creationId xmlns:a16="http://schemas.microsoft.com/office/drawing/2014/main" id="{C1543F4E-6EC3-582F-D69F-E21D5E83EFCF}"/>
                </a:ext>
              </a:extLst>
            </p:cNvPr>
            <p:cNvSpPr txBox="1">
              <a:spLocks/>
            </p:cNvSpPr>
            <p:nvPr/>
          </p:nvSpPr>
          <p:spPr>
            <a:xfrm flipH="1">
              <a:off x="1661225" y="2357154"/>
              <a:ext cx="1905878" cy="362186"/>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ts val="900"/>
                </a:spcBef>
                <a:spcAft>
                  <a:spcPts val="0"/>
                </a:spcAft>
                <a:buClrTx/>
                <a:buSzTx/>
                <a:buFontTx/>
                <a:buNone/>
                <a:tabLst/>
                <a:defRPr/>
              </a:pPr>
              <a:r>
                <a:rPr lang="en-US" sz="1800" dirty="0">
                  <a:solidFill>
                    <a:srgbClr val="817A6C"/>
                  </a:solidFill>
                  <a:latin typeface="Arial" panose="020B0604020202020204" pitchFamily="34" charset="0"/>
                  <a:cs typeface="Arial" panose="020B0604020202020204" pitchFamily="34" charset="0"/>
                  <a:sym typeface="Sakkal Majalla" panose="02000000000000000000" pitchFamily="2" charset="-78"/>
                </a:rPr>
                <a:t>USD Billion </a:t>
              </a:r>
              <a:endParaRPr kumimoji="0" lang="ar-EG" sz="18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grpSp>
      <p:grpSp>
        <p:nvGrpSpPr>
          <p:cNvPr id="119" name="Group 118">
            <a:extLst>
              <a:ext uri="{FF2B5EF4-FFF2-40B4-BE49-F238E27FC236}">
                <a16:creationId xmlns:a16="http://schemas.microsoft.com/office/drawing/2014/main" id="{E6290530-1E4C-E146-4126-900EB76509F3}"/>
              </a:ext>
            </a:extLst>
          </p:cNvPr>
          <p:cNvGrpSpPr/>
          <p:nvPr/>
        </p:nvGrpSpPr>
        <p:grpSpPr>
          <a:xfrm>
            <a:off x="805698" y="4000790"/>
            <a:ext cx="3313112" cy="718175"/>
            <a:chOff x="8495059" y="3912501"/>
            <a:chExt cx="3313112" cy="718175"/>
          </a:xfrm>
        </p:grpSpPr>
        <p:sp>
          <p:nvSpPr>
            <p:cNvPr id="136" name="Title 2">
              <a:extLst>
                <a:ext uri="{FF2B5EF4-FFF2-40B4-BE49-F238E27FC236}">
                  <a16:creationId xmlns:a16="http://schemas.microsoft.com/office/drawing/2014/main" id="{E6B619A4-5194-7260-6735-9325FC60FC01}"/>
                </a:ext>
              </a:extLst>
            </p:cNvPr>
            <p:cNvSpPr txBox="1">
              <a:spLocks/>
            </p:cNvSpPr>
            <p:nvPr/>
          </p:nvSpPr>
          <p:spPr>
            <a:xfrm flipH="1">
              <a:off x="8495059" y="3912501"/>
              <a:ext cx="3313112" cy="362186"/>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7F6000"/>
                  </a:solidFill>
                  <a:effectLst/>
                  <a:uLnTx/>
                  <a:uFillTx/>
                  <a:latin typeface="Janna LT" panose="01000000000000000000" pitchFamily="2" charset="-78"/>
                  <a:ea typeface="+mj-ea"/>
                  <a:cs typeface="+mn-cs"/>
                  <a:sym typeface="Sakkal Majalla" panose="02000000000000000000" pitchFamily="2" charset="-78"/>
                </a:rPr>
                <a:t>1</a:t>
              </a:r>
              <a:endParaRPr kumimoji="0" lang="ar-AE" sz="2400" b="1" i="0" u="none" strike="noStrike" kern="1200" cap="none" spc="0" normalizeH="0" baseline="0" noProof="0" dirty="0">
                <a:ln>
                  <a:noFill/>
                </a:ln>
                <a:solidFill>
                  <a:srgbClr val="7F6000"/>
                </a:solidFill>
                <a:effectLst/>
                <a:uLnTx/>
                <a:uFillTx/>
                <a:latin typeface="Janna LT" panose="01000000000000000000" pitchFamily="2" charset="-78"/>
                <a:ea typeface="+mj-ea"/>
                <a:cs typeface="+mn-cs"/>
                <a:sym typeface="Sakkal Majalla" panose="02000000000000000000" pitchFamily="2" charset="-78"/>
              </a:endParaRPr>
            </a:p>
            <a:p>
              <a:pPr marL="0" marR="0" lvl="0" indent="0" algn="ctr" defTabSz="914400" rtl="1" eaLnBrk="1" fontAlgn="auto" latinLnBrk="0" hangingPunct="1">
                <a:lnSpc>
                  <a:spcPct val="90000"/>
                </a:lnSpc>
                <a:spcBef>
                  <a:spcPct val="0"/>
                </a:spcBef>
                <a:spcAft>
                  <a:spcPts val="0"/>
                </a:spcAft>
                <a:buClrTx/>
                <a:buSzTx/>
                <a:buFontTx/>
                <a:buNone/>
                <a:tabLst/>
                <a:defRPr/>
              </a:pPr>
              <a:endParaRPr kumimoji="0" lang="ar-AE" sz="2400" b="1" i="0" u="none" strike="noStrike" kern="1200" cap="none" spc="0" normalizeH="0" baseline="0" noProof="0" dirty="0">
                <a:ln>
                  <a:noFill/>
                </a:ln>
                <a:solidFill>
                  <a:srgbClr val="7F6000"/>
                </a:solidFill>
                <a:effectLst/>
                <a:uLnTx/>
                <a:uFillTx/>
                <a:latin typeface="Janna LT" panose="01000000000000000000" pitchFamily="2" charset="-78"/>
                <a:ea typeface="+mj-ea"/>
                <a:cs typeface="+mn-cs"/>
                <a:sym typeface="Sakkal Majalla" panose="02000000000000000000" pitchFamily="2" charset="-78"/>
              </a:endParaRPr>
            </a:p>
            <a:p>
              <a:pPr marL="0" marR="0" lvl="0" indent="0" algn="ctr" defTabSz="914400" rtl="1" eaLnBrk="1" fontAlgn="auto" latinLnBrk="0" hangingPunct="1">
                <a:lnSpc>
                  <a:spcPct val="90000"/>
                </a:lnSpc>
                <a:spcBef>
                  <a:spcPct val="0"/>
                </a:spcBef>
                <a:spcAft>
                  <a:spcPts val="0"/>
                </a:spcAft>
                <a:buClrTx/>
                <a:buSzTx/>
                <a:buFontTx/>
                <a:buNone/>
                <a:tabLst/>
                <a:defRPr/>
              </a:pPr>
              <a:endParaRPr kumimoji="0" lang="ar-AE" sz="2400" b="1" i="0" u="none" strike="noStrike" kern="1200" cap="none" spc="0" normalizeH="0" baseline="0" noProof="0" dirty="0">
                <a:ln>
                  <a:noFill/>
                </a:ln>
                <a:solidFill>
                  <a:srgbClr val="7F6000"/>
                </a:solidFill>
                <a:effectLst/>
                <a:uLnTx/>
                <a:uFillTx/>
                <a:latin typeface="Janna LT" panose="01000000000000000000" pitchFamily="2" charset="-78"/>
                <a:ea typeface="+mj-ea"/>
                <a:cs typeface="+mn-cs"/>
                <a:sym typeface="Sakkal Majalla" panose="02000000000000000000" pitchFamily="2" charset="-78"/>
              </a:endParaRPr>
            </a:p>
          </p:txBody>
        </p:sp>
        <p:sp>
          <p:nvSpPr>
            <p:cNvPr id="137" name="Title 2">
              <a:extLst>
                <a:ext uri="{FF2B5EF4-FFF2-40B4-BE49-F238E27FC236}">
                  <a16:creationId xmlns:a16="http://schemas.microsoft.com/office/drawing/2014/main" id="{ED19BEA6-38CE-BEDB-D146-8122A010FFBB}"/>
                </a:ext>
              </a:extLst>
            </p:cNvPr>
            <p:cNvSpPr txBox="1">
              <a:spLocks/>
            </p:cNvSpPr>
            <p:nvPr/>
          </p:nvSpPr>
          <p:spPr>
            <a:xfrm flipH="1">
              <a:off x="9198676" y="4268490"/>
              <a:ext cx="1905878" cy="362186"/>
            </a:xfrm>
            <a:prstGeom prst="rect">
              <a:avLst/>
            </a:prstGeom>
          </p:spPr>
          <p:txBody>
            <a:bodyPr vert="horz" wrap="square" lIns="0" tIns="0" rIns="0" bIns="0" rtlCol="0" anchor="t">
              <a:noAutofit/>
            </a:bodyPr>
            <a:lstStyle>
              <a:defPPr>
                <a:defRPr lang="en-US"/>
              </a:defPPr>
              <a:lvl1pPr marR="0" lvl="0" indent="0" algn="ctr" rtl="1" fontAlgn="auto">
                <a:lnSpc>
                  <a:spcPct val="90000"/>
                </a:lnSpc>
                <a:spcBef>
                  <a:spcPts val="900"/>
                </a:spcBef>
                <a:spcAft>
                  <a:spcPts val="0"/>
                </a:spcAft>
                <a:buClrTx/>
                <a:buSzTx/>
                <a:buFontTx/>
                <a:buNone/>
                <a:tabLst/>
                <a:defRPr kumimoji="0" b="1" i="0" u="none" strike="noStrike" cap="none" spc="0" normalizeH="0" baseline="0">
                  <a:ln>
                    <a:noFill/>
                  </a:ln>
                  <a:solidFill>
                    <a:srgbClr val="817A6C"/>
                  </a:solidFill>
                  <a:effectLst/>
                  <a:uLnTx/>
                  <a:uFillTx/>
                  <a:latin typeface="Arial" panose="020B0604020202020204" pitchFamily="34" charset="0"/>
                  <a:ea typeface="+mj-ea"/>
                  <a:cs typeface="Arial" panose="020B0604020202020204" pitchFamily="34" charset="0"/>
                </a:defRPr>
              </a:lvl1pPr>
            </a:lstStyle>
            <a:p>
              <a:r>
                <a:rPr lang="en-US" dirty="0">
                  <a:sym typeface="Sakkal Majalla" panose="02000000000000000000" pitchFamily="2" charset="-78"/>
                </a:rPr>
                <a:t>USD Trillion</a:t>
              </a:r>
              <a:endParaRPr lang="ar-EG" dirty="0">
                <a:sym typeface="Sakkal Majalla" panose="02000000000000000000" pitchFamily="2" charset="-78"/>
              </a:endParaRPr>
            </a:p>
          </p:txBody>
        </p:sp>
      </p:grpSp>
      <p:sp>
        <p:nvSpPr>
          <p:cNvPr id="120" name="Title 2">
            <a:extLst>
              <a:ext uri="{FF2B5EF4-FFF2-40B4-BE49-F238E27FC236}">
                <a16:creationId xmlns:a16="http://schemas.microsoft.com/office/drawing/2014/main" id="{B8B4685B-C4CC-A176-A587-37EA5D5C17FC}"/>
              </a:ext>
            </a:extLst>
          </p:cNvPr>
          <p:cNvSpPr txBox="1">
            <a:spLocks/>
          </p:cNvSpPr>
          <p:nvPr/>
        </p:nvSpPr>
        <p:spPr>
          <a:xfrm flipH="1">
            <a:off x="5504256" y="4398956"/>
            <a:ext cx="1905878" cy="362186"/>
          </a:xfrm>
          <a:prstGeom prst="rect">
            <a:avLst/>
          </a:prstGeom>
        </p:spPr>
        <p:txBody>
          <a:bodyPr vert="horz" wrap="square" lIns="0" tIns="0" rIns="0" bIns="0" rtlCol="0" anchor="t">
            <a:noAutofit/>
          </a:bodyPr>
          <a:lstStyle>
            <a:defPPr>
              <a:defRPr lang="en-US"/>
            </a:defPPr>
            <a:lvl1pPr marR="0" lvl="0" indent="0" algn="ctr" rtl="1" fontAlgn="auto">
              <a:lnSpc>
                <a:spcPct val="90000"/>
              </a:lnSpc>
              <a:spcBef>
                <a:spcPts val="900"/>
              </a:spcBef>
              <a:spcAft>
                <a:spcPts val="0"/>
              </a:spcAft>
              <a:buClrTx/>
              <a:buSzTx/>
              <a:buFontTx/>
              <a:buNone/>
              <a:tabLst/>
              <a:defRPr kumimoji="0" b="1" i="0" u="none" strike="noStrike" cap="none" spc="0" normalizeH="0" baseline="0">
                <a:ln>
                  <a:noFill/>
                </a:ln>
                <a:solidFill>
                  <a:srgbClr val="817A6C"/>
                </a:solidFill>
                <a:effectLst/>
                <a:uLnTx/>
                <a:uFillTx/>
                <a:latin typeface="Arial" panose="020B0604020202020204" pitchFamily="34" charset="0"/>
                <a:ea typeface="+mj-ea"/>
                <a:cs typeface="Arial" panose="020B0604020202020204" pitchFamily="34" charset="0"/>
              </a:defRPr>
            </a:lvl1pPr>
          </a:lstStyle>
          <a:p>
            <a:r>
              <a:rPr lang="en-US" dirty="0">
                <a:sym typeface="Sakkal Majalla" panose="02000000000000000000" pitchFamily="2" charset="-78"/>
              </a:rPr>
              <a:t>USD Billion </a:t>
            </a:r>
            <a:endParaRPr lang="ar-EG" dirty="0">
              <a:sym typeface="Sakkal Majalla" panose="02000000000000000000" pitchFamily="2" charset="-78"/>
            </a:endParaRPr>
          </a:p>
        </p:txBody>
      </p:sp>
      <p:sp>
        <p:nvSpPr>
          <p:cNvPr id="121" name="Title 2">
            <a:extLst>
              <a:ext uri="{FF2B5EF4-FFF2-40B4-BE49-F238E27FC236}">
                <a16:creationId xmlns:a16="http://schemas.microsoft.com/office/drawing/2014/main" id="{947FB2FC-714D-0AF9-4626-BB7FCC2C45FB}"/>
              </a:ext>
            </a:extLst>
          </p:cNvPr>
          <p:cNvSpPr txBox="1">
            <a:spLocks/>
          </p:cNvSpPr>
          <p:nvPr/>
        </p:nvSpPr>
        <p:spPr>
          <a:xfrm flipH="1">
            <a:off x="6233335" y="3766316"/>
            <a:ext cx="1905878" cy="362186"/>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ts val="900"/>
              </a:spcBef>
              <a:spcAft>
                <a:spcPts val="0"/>
              </a:spcAft>
              <a:buClrTx/>
              <a:buSzTx/>
              <a:buFontTx/>
              <a:buNone/>
              <a:tabLst/>
              <a:defRPr/>
            </a:pPr>
            <a:endParaRPr kumimoji="0" lang="ar-EG" sz="1800" b="1" i="0" u="none" strike="noStrike" kern="1200" cap="none" spc="0" normalizeH="0" baseline="0" noProof="0" dirty="0">
              <a:ln>
                <a:noFill/>
              </a:ln>
              <a:solidFill>
                <a:srgbClr val="817A6C"/>
              </a:solidFill>
              <a:effectLst/>
              <a:uLnTx/>
              <a:uFillTx/>
              <a:latin typeface="Janna LT" panose="01000000000000000000" pitchFamily="2" charset="-78"/>
              <a:ea typeface="+mj-ea"/>
              <a:cs typeface="+mn-cs"/>
              <a:sym typeface="Sakkal Majalla" panose="02000000000000000000" pitchFamily="2" charset="-78"/>
            </a:endParaRPr>
          </a:p>
        </p:txBody>
      </p:sp>
      <p:grpSp>
        <p:nvGrpSpPr>
          <p:cNvPr id="122" name="Group 121">
            <a:extLst>
              <a:ext uri="{FF2B5EF4-FFF2-40B4-BE49-F238E27FC236}">
                <a16:creationId xmlns:a16="http://schemas.microsoft.com/office/drawing/2014/main" id="{296C490F-483B-B75E-1A72-5F01569B6EE7}"/>
              </a:ext>
            </a:extLst>
          </p:cNvPr>
          <p:cNvGrpSpPr/>
          <p:nvPr/>
        </p:nvGrpSpPr>
        <p:grpSpPr>
          <a:xfrm>
            <a:off x="958818" y="1617362"/>
            <a:ext cx="3313112" cy="658243"/>
            <a:chOff x="906734" y="1625203"/>
            <a:chExt cx="3313112" cy="658243"/>
          </a:xfrm>
        </p:grpSpPr>
        <p:sp>
          <p:nvSpPr>
            <p:cNvPr id="134" name="Title 2">
              <a:extLst>
                <a:ext uri="{FF2B5EF4-FFF2-40B4-BE49-F238E27FC236}">
                  <a16:creationId xmlns:a16="http://schemas.microsoft.com/office/drawing/2014/main" id="{B19C7A12-A97A-EB43-60BD-26B3EEE59164}"/>
                </a:ext>
              </a:extLst>
            </p:cNvPr>
            <p:cNvSpPr txBox="1">
              <a:spLocks/>
            </p:cNvSpPr>
            <p:nvPr/>
          </p:nvSpPr>
          <p:spPr>
            <a:xfrm flipH="1">
              <a:off x="906734" y="1921260"/>
              <a:ext cx="3313112" cy="362186"/>
            </a:xfrm>
            <a:prstGeom prst="rect">
              <a:avLst/>
            </a:prstGeom>
          </p:spPr>
          <p:txBody>
            <a:bodyPr vert="horz" wrap="square" lIns="0" tIns="0" rIns="0" bIns="0" rtlCol="0" anchor="t">
              <a:noAutofit/>
            </a:bodyPr>
            <a:lstStyle>
              <a:defPPr>
                <a:defRPr lang="en-US"/>
              </a:defPPr>
              <a:lvl1pPr marR="0" lvl="0" indent="0" algn="ctr" rtl="1" fontAlgn="auto">
                <a:lnSpc>
                  <a:spcPct val="90000"/>
                </a:lnSpc>
                <a:spcBef>
                  <a:spcPct val="0"/>
                </a:spcBef>
                <a:spcAft>
                  <a:spcPts val="0"/>
                </a:spcAft>
                <a:buClrTx/>
                <a:buSzTx/>
                <a:buFontTx/>
                <a:buNone/>
                <a:tabLst/>
                <a:defRPr kumimoji="0" sz="3200" b="1" i="0" u="none" strike="noStrike" cap="none" spc="0" normalizeH="0" baseline="0">
                  <a:ln>
                    <a:noFill/>
                  </a:ln>
                  <a:solidFill>
                    <a:srgbClr val="7F6000"/>
                  </a:solidFill>
                  <a:effectLst/>
                  <a:uLnTx/>
                  <a:uFillTx/>
                  <a:latin typeface="Janna LT" panose="01000000000000000000" pitchFamily="2" charset="-78"/>
                  <a:ea typeface="+mj-ea"/>
                </a:defRPr>
              </a:lvl1pPr>
            </a:lstStyle>
            <a:p>
              <a:r>
                <a:rPr lang="ar-AE" dirty="0">
                  <a:sym typeface="Sakkal Majalla" panose="02000000000000000000" pitchFamily="2" charset="-78"/>
                </a:rPr>
                <a:t>2.5</a:t>
              </a:r>
            </a:p>
            <a:p>
              <a:endParaRPr lang="ar-AE" dirty="0">
                <a:sym typeface="Sakkal Majalla" panose="02000000000000000000" pitchFamily="2" charset="-78"/>
              </a:endParaRPr>
            </a:p>
          </p:txBody>
        </p:sp>
        <p:sp>
          <p:nvSpPr>
            <p:cNvPr id="135" name="Title 2">
              <a:extLst>
                <a:ext uri="{FF2B5EF4-FFF2-40B4-BE49-F238E27FC236}">
                  <a16:creationId xmlns:a16="http://schemas.microsoft.com/office/drawing/2014/main" id="{1C787B8B-48BC-2B37-F498-613AEDB381CC}"/>
                </a:ext>
              </a:extLst>
            </p:cNvPr>
            <p:cNvSpPr txBox="1">
              <a:spLocks/>
            </p:cNvSpPr>
            <p:nvPr/>
          </p:nvSpPr>
          <p:spPr>
            <a:xfrm flipH="1">
              <a:off x="2311909" y="1625203"/>
              <a:ext cx="1905878" cy="362186"/>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kumimoji="0" lang="ar" sz="2800" b="1" i="0" u="none" strike="noStrike" kern="1200" cap="none" spc="0" normalizeH="0" baseline="0">
                  <a:ln>
                    <a:noFill/>
                  </a:ln>
                  <a:solidFill>
                    <a:srgbClr val="0070C0"/>
                  </a:solidFill>
                  <a:effectLst/>
                  <a:uLnTx/>
                  <a:uFillTx/>
                  <a:latin typeface="+mj-lt"/>
                  <a:ea typeface="+mj-ea"/>
                  <a:cs typeface="+mj-cs"/>
                  <a:sym typeface="Trebuchet MS" panose="020B0603020202020204" pitchFamily="34" charset="0"/>
                </a:defRPr>
              </a:lvl1pPr>
            </a:lstStyle>
            <a:p>
              <a:pPr marL="0" marR="0" lvl="0" indent="0" algn="ctr" defTabSz="914400" rtl="1" eaLnBrk="1" fontAlgn="auto" latinLnBrk="0" hangingPunct="1">
                <a:lnSpc>
                  <a:spcPct val="90000"/>
                </a:lnSpc>
                <a:spcBef>
                  <a:spcPts val="900"/>
                </a:spcBef>
                <a:spcAft>
                  <a:spcPts val="0"/>
                </a:spcAft>
                <a:buClrTx/>
                <a:buSzTx/>
                <a:buFontTx/>
                <a:buNone/>
                <a:tabLst/>
                <a:defRPr/>
              </a:pPr>
              <a:r>
                <a:rPr kumimoji="0" lang="en-US" sz="1800" b="1" i="0" u="none" strike="noStrike" kern="1200" cap="none" spc="0" normalizeH="0" baseline="0" noProof="0" dirty="0">
                  <a:ln>
                    <a:noFill/>
                  </a:ln>
                  <a:solidFill>
                    <a:srgbClr val="817A6C"/>
                  </a:solidFill>
                  <a:effectLst/>
                  <a:uLnTx/>
                  <a:uFillTx/>
                  <a:latin typeface="Janna LT" panose="01000000000000000000" pitchFamily="2" charset="-78"/>
                  <a:ea typeface="+mj-ea"/>
                  <a:cs typeface="+mn-cs"/>
                  <a:sym typeface="Sakkal Majalla" panose="02000000000000000000" pitchFamily="2" charset="-78"/>
                </a:rPr>
                <a:t> </a:t>
              </a:r>
              <a:endParaRPr kumimoji="0" lang="ar-EG" sz="1800" b="1" i="0" u="none" strike="noStrike" kern="1200" cap="none" spc="0" normalizeH="0" baseline="0" noProof="0" dirty="0">
                <a:ln>
                  <a:noFill/>
                </a:ln>
                <a:solidFill>
                  <a:srgbClr val="817A6C"/>
                </a:solidFill>
                <a:effectLst/>
                <a:uLnTx/>
                <a:uFillTx/>
                <a:latin typeface="Janna LT" panose="01000000000000000000" pitchFamily="2" charset="-78"/>
                <a:ea typeface="+mj-ea"/>
                <a:cs typeface="+mn-cs"/>
                <a:sym typeface="Sakkal Majalla" panose="02000000000000000000" pitchFamily="2" charset="-78"/>
              </a:endParaRPr>
            </a:p>
          </p:txBody>
        </p:sp>
      </p:grpSp>
      <p:sp>
        <p:nvSpPr>
          <p:cNvPr id="123" name="Title 2">
            <a:extLst>
              <a:ext uri="{FF2B5EF4-FFF2-40B4-BE49-F238E27FC236}">
                <a16:creationId xmlns:a16="http://schemas.microsoft.com/office/drawing/2014/main" id="{7C4DBDBC-2F0C-304E-5B68-38836953B50F}"/>
              </a:ext>
            </a:extLst>
          </p:cNvPr>
          <p:cNvSpPr txBox="1">
            <a:spLocks/>
          </p:cNvSpPr>
          <p:nvPr/>
        </p:nvSpPr>
        <p:spPr>
          <a:xfrm flipH="1">
            <a:off x="1684401" y="2343792"/>
            <a:ext cx="1905878" cy="362186"/>
          </a:xfrm>
          <a:prstGeom prst="rect">
            <a:avLst/>
          </a:prstGeom>
        </p:spPr>
        <p:txBody>
          <a:bodyPr vert="horz" wrap="square" lIns="0" tIns="0" rIns="0" bIns="0" rtlCol="0" anchor="t">
            <a:noAutofit/>
          </a:bodyPr>
          <a:lstStyle>
            <a:defPPr>
              <a:defRPr lang="en-US"/>
            </a:defPPr>
            <a:lvl1pPr marR="0" lvl="0" indent="0" algn="ctr" rtl="1" fontAlgn="auto">
              <a:lnSpc>
                <a:spcPct val="90000"/>
              </a:lnSpc>
              <a:spcBef>
                <a:spcPts val="900"/>
              </a:spcBef>
              <a:spcAft>
                <a:spcPts val="0"/>
              </a:spcAft>
              <a:buClrTx/>
              <a:buSzTx/>
              <a:buFontTx/>
              <a:buNone/>
              <a:tabLst/>
              <a:defRPr kumimoji="0" b="1" i="0" u="none" strike="noStrike" cap="none" spc="0" normalizeH="0" baseline="0">
                <a:ln>
                  <a:noFill/>
                </a:ln>
                <a:solidFill>
                  <a:srgbClr val="817A6C"/>
                </a:solidFill>
                <a:effectLst/>
                <a:uLnTx/>
                <a:uFillTx/>
                <a:latin typeface="Arial" panose="020B0604020202020204" pitchFamily="34" charset="0"/>
                <a:ea typeface="+mj-ea"/>
                <a:cs typeface="Arial" panose="020B0604020202020204" pitchFamily="34" charset="0"/>
              </a:defRPr>
            </a:lvl1pPr>
          </a:lstStyle>
          <a:p>
            <a:r>
              <a:rPr lang="en-US" dirty="0">
                <a:sym typeface="Sakkal Majalla" panose="02000000000000000000" pitchFamily="2" charset="-78"/>
              </a:rPr>
              <a:t>USD Trillion</a:t>
            </a:r>
            <a:endParaRPr lang="ar-EG" dirty="0">
              <a:sym typeface="Sakkal Majalla" panose="02000000000000000000" pitchFamily="2" charset="-78"/>
            </a:endParaRPr>
          </a:p>
        </p:txBody>
      </p:sp>
      <p:sp>
        <p:nvSpPr>
          <p:cNvPr id="124" name="TextBox 123">
            <a:extLst>
              <a:ext uri="{FF2B5EF4-FFF2-40B4-BE49-F238E27FC236}">
                <a16:creationId xmlns:a16="http://schemas.microsoft.com/office/drawing/2014/main" id="{D761B6A7-5ED0-78B3-D509-07C39B6F83C0}"/>
              </a:ext>
            </a:extLst>
          </p:cNvPr>
          <p:cNvSpPr txBox="1"/>
          <p:nvPr/>
        </p:nvSpPr>
        <p:spPr>
          <a:xfrm>
            <a:off x="933305" y="5094011"/>
            <a:ext cx="3125581" cy="433965"/>
          </a:xfrm>
          <a:prstGeom prst="rect">
            <a:avLst/>
          </a:prstGeom>
          <a:noFill/>
        </p:spPr>
        <p:txBody>
          <a:bodyPr wrap="square">
            <a:sp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lang="en-US" sz="2400" b="1" dirty="0">
                <a:solidFill>
                  <a:srgbClr val="7F6000"/>
                </a:solidFill>
                <a:latin typeface="Arial" panose="020B0604020202020204" pitchFamily="34" charset="0"/>
                <a:ea typeface="+mj-ea"/>
                <a:cs typeface="Arial" panose="020B0604020202020204" pitchFamily="34" charset="0"/>
                <a:sym typeface="Sakkal Majalla" panose="02000000000000000000" pitchFamily="2" charset="-78"/>
              </a:rPr>
              <a:t>Total Imports</a:t>
            </a:r>
            <a:endParaRPr lang="ar-EG" sz="2400" b="1" dirty="0">
              <a:solidFill>
                <a:srgbClr val="7F6000"/>
              </a:solidFill>
              <a:latin typeface="Arial" panose="020B0604020202020204" pitchFamily="34" charset="0"/>
              <a:ea typeface="+mj-ea"/>
              <a:cs typeface="Arial" panose="020B0604020202020204" pitchFamily="34" charset="0"/>
              <a:sym typeface="Sakkal Majalla" panose="02000000000000000000" pitchFamily="2" charset="-78"/>
            </a:endParaRPr>
          </a:p>
        </p:txBody>
      </p:sp>
      <p:sp>
        <p:nvSpPr>
          <p:cNvPr id="125" name="Rectangle 124">
            <a:extLst>
              <a:ext uri="{FF2B5EF4-FFF2-40B4-BE49-F238E27FC236}">
                <a16:creationId xmlns:a16="http://schemas.microsoft.com/office/drawing/2014/main" id="{72CE1B20-4958-372F-A9BF-830195453079}"/>
              </a:ext>
            </a:extLst>
          </p:cNvPr>
          <p:cNvSpPr/>
          <p:nvPr/>
        </p:nvSpPr>
        <p:spPr>
          <a:xfrm>
            <a:off x="805698" y="3617853"/>
            <a:ext cx="3545341" cy="1997439"/>
          </a:xfrm>
          <a:prstGeom prst="rect">
            <a:avLst/>
          </a:prstGeom>
          <a:noFill/>
          <a:ln>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6" name="Group 125">
            <a:extLst>
              <a:ext uri="{FF2B5EF4-FFF2-40B4-BE49-F238E27FC236}">
                <a16:creationId xmlns:a16="http://schemas.microsoft.com/office/drawing/2014/main" id="{C6084A02-3C3C-02BB-3A54-C5AE95FD0325}"/>
              </a:ext>
            </a:extLst>
          </p:cNvPr>
          <p:cNvGrpSpPr/>
          <p:nvPr/>
        </p:nvGrpSpPr>
        <p:grpSpPr>
          <a:xfrm>
            <a:off x="3368620" y="1427695"/>
            <a:ext cx="6099142" cy="2005171"/>
            <a:chOff x="-434197" y="1417190"/>
            <a:chExt cx="6099142" cy="2005171"/>
          </a:xfrm>
        </p:grpSpPr>
        <p:sp>
          <p:nvSpPr>
            <p:cNvPr id="131" name="Rectangle 130">
              <a:extLst>
                <a:ext uri="{FF2B5EF4-FFF2-40B4-BE49-F238E27FC236}">
                  <a16:creationId xmlns:a16="http://schemas.microsoft.com/office/drawing/2014/main" id="{0514ADA4-D472-B363-6327-9144F7357E11}"/>
                </a:ext>
              </a:extLst>
            </p:cNvPr>
            <p:cNvSpPr/>
            <p:nvPr/>
          </p:nvSpPr>
          <p:spPr>
            <a:xfrm>
              <a:off x="805698" y="2704756"/>
              <a:ext cx="3545341" cy="71760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32" name="TextBox 131">
              <a:extLst>
                <a:ext uri="{FF2B5EF4-FFF2-40B4-BE49-F238E27FC236}">
                  <a16:creationId xmlns:a16="http://schemas.microsoft.com/office/drawing/2014/main" id="{31E5FD63-95DE-CCE1-508A-BB90DDF579E0}"/>
                </a:ext>
              </a:extLst>
            </p:cNvPr>
            <p:cNvSpPr txBox="1"/>
            <p:nvPr/>
          </p:nvSpPr>
          <p:spPr>
            <a:xfrm>
              <a:off x="-434197" y="2829998"/>
              <a:ext cx="6099142" cy="433965"/>
            </a:xfrm>
            <a:prstGeom prst="rect">
              <a:avLst/>
            </a:prstGeom>
            <a:noFill/>
          </p:spPr>
          <p:txBody>
            <a:bodyPr wrap="square">
              <a:spAutoFit/>
            </a:bodyPr>
            <a:lstStyle>
              <a:defPPr>
                <a:defRPr lang="en-US"/>
              </a:defPPr>
              <a:lvl1pPr marR="0" lvl="0" indent="0" algn="ctr" rtl="1" fontAlgn="auto">
                <a:lnSpc>
                  <a:spcPct val="90000"/>
                </a:lnSpc>
                <a:spcBef>
                  <a:spcPct val="0"/>
                </a:spcBef>
                <a:spcAft>
                  <a:spcPts val="0"/>
                </a:spcAft>
                <a:buClrTx/>
                <a:buSzTx/>
                <a:buFontTx/>
                <a:buNone/>
                <a:tabLst/>
                <a:defRPr sz="2400" b="1">
                  <a:solidFill>
                    <a:srgbClr val="7F6000"/>
                  </a:solidFill>
                  <a:latin typeface="Arial" panose="020B0604020202020204" pitchFamily="34" charset="0"/>
                  <a:ea typeface="+mj-ea"/>
                  <a:cs typeface="Arial" panose="020B0604020202020204" pitchFamily="34" charset="0"/>
                </a:defRPr>
              </a:lvl1pPr>
            </a:lstStyle>
            <a:p>
              <a:r>
                <a:rPr lang="en-US" dirty="0">
                  <a:sym typeface="Sakkal Majalla" panose="02000000000000000000" pitchFamily="2" charset="-78"/>
                </a:rPr>
                <a:t>Population</a:t>
              </a:r>
              <a:endParaRPr lang="ar-EG" dirty="0">
                <a:sym typeface="Sakkal Majalla" panose="02000000000000000000" pitchFamily="2" charset="-78"/>
              </a:endParaRPr>
            </a:p>
          </p:txBody>
        </p:sp>
        <p:sp>
          <p:nvSpPr>
            <p:cNvPr id="133" name="Rectangle 132">
              <a:extLst>
                <a:ext uri="{FF2B5EF4-FFF2-40B4-BE49-F238E27FC236}">
                  <a16:creationId xmlns:a16="http://schemas.microsoft.com/office/drawing/2014/main" id="{41C36848-FAE8-21C1-5AD6-4C48818494FB}"/>
                </a:ext>
              </a:extLst>
            </p:cNvPr>
            <p:cNvSpPr/>
            <p:nvPr/>
          </p:nvSpPr>
          <p:spPr>
            <a:xfrm>
              <a:off x="805698" y="1417190"/>
              <a:ext cx="3545341" cy="1997439"/>
            </a:xfrm>
            <a:prstGeom prst="rect">
              <a:avLst/>
            </a:prstGeom>
            <a:noFill/>
            <a:ln>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8" name="Rectangle 127">
            <a:extLst>
              <a:ext uri="{FF2B5EF4-FFF2-40B4-BE49-F238E27FC236}">
                <a16:creationId xmlns:a16="http://schemas.microsoft.com/office/drawing/2014/main" id="{747B95AF-099C-EC79-5AE0-158C0D536B68}"/>
              </a:ext>
            </a:extLst>
          </p:cNvPr>
          <p:cNvSpPr/>
          <p:nvPr/>
        </p:nvSpPr>
        <p:spPr>
          <a:xfrm>
            <a:off x="4619995" y="4914105"/>
            <a:ext cx="3545341" cy="69827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29" name="TextBox 128">
            <a:extLst>
              <a:ext uri="{FF2B5EF4-FFF2-40B4-BE49-F238E27FC236}">
                <a16:creationId xmlns:a16="http://schemas.microsoft.com/office/drawing/2014/main" id="{948FBE66-CBF7-C176-CAAE-EF12A3372A24}"/>
              </a:ext>
            </a:extLst>
          </p:cNvPr>
          <p:cNvSpPr txBox="1"/>
          <p:nvPr/>
        </p:nvSpPr>
        <p:spPr>
          <a:xfrm>
            <a:off x="3378178" y="5165544"/>
            <a:ext cx="6099142" cy="377026"/>
          </a:xfrm>
          <a:prstGeom prst="rect">
            <a:avLst/>
          </a:prstGeom>
          <a:noFill/>
        </p:spPr>
        <p:txBody>
          <a:bodyPr wrap="square">
            <a:sp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lang="en-US" sz="2000" b="1" dirty="0">
                <a:solidFill>
                  <a:srgbClr val="7F6000"/>
                </a:solidFill>
                <a:latin typeface="Arial" panose="020B0604020202020204" pitchFamily="34" charset="0"/>
                <a:ea typeface="+mj-ea"/>
                <a:cs typeface="Arial" panose="020B0604020202020204" pitchFamily="34" charset="0"/>
                <a:sym typeface="Sakkal Majalla" panose="02000000000000000000" pitchFamily="2" charset="-78"/>
              </a:rPr>
              <a:t>Manufacturing Value Add</a:t>
            </a:r>
            <a:endParaRPr lang="ar-AE" sz="2000" b="1" dirty="0">
              <a:solidFill>
                <a:srgbClr val="7F6000"/>
              </a:solidFill>
              <a:latin typeface="Arial" panose="020B0604020202020204" pitchFamily="34" charset="0"/>
              <a:ea typeface="+mj-ea"/>
              <a:cs typeface="Arial" panose="020B0604020202020204" pitchFamily="34" charset="0"/>
              <a:sym typeface="Sakkal Majalla" panose="02000000000000000000" pitchFamily="2" charset="-78"/>
            </a:endParaRPr>
          </a:p>
        </p:txBody>
      </p:sp>
      <p:sp>
        <p:nvSpPr>
          <p:cNvPr id="130" name="Rectangle 129">
            <a:extLst>
              <a:ext uri="{FF2B5EF4-FFF2-40B4-BE49-F238E27FC236}">
                <a16:creationId xmlns:a16="http://schemas.microsoft.com/office/drawing/2014/main" id="{4D5AF545-7D74-9C64-2BAE-14E04D5DAA6D}"/>
              </a:ext>
            </a:extLst>
          </p:cNvPr>
          <p:cNvSpPr/>
          <p:nvPr/>
        </p:nvSpPr>
        <p:spPr>
          <a:xfrm>
            <a:off x="4619995" y="3626539"/>
            <a:ext cx="3545341" cy="1997439"/>
          </a:xfrm>
          <a:prstGeom prst="rect">
            <a:avLst/>
          </a:prstGeom>
          <a:noFill/>
          <a:ln>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Rectangle 147">
            <a:extLst>
              <a:ext uri="{FF2B5EF4-FFF2-40B4-BE49-F238E27FC236}">
                <a16:creationId xmlns:a16="http://schemas.microsoft.com/office/drawing/2014/main" id="{6615B991-F466-8C24-080D-4042974CB132}"/>
              </a:ext>
            </a:extLst>
          </p:cNvPr>
          <p:cNvSpPr/>
          <p:nvPr/>
        </p:nvSpPr>
        <p:spPr>
          <a:xfrm>
            <a:off x="8476446" y="4884970"/>
            <a:ext cx="3545341" cy="717605"/>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49" name="TextBox 148">
            <a:extLst>
              <a:ext uri="{FF2B5EF4-FFF2-40B4-BE49-F238E27FC236}">
                <a16:creationId xmlns:a16="http://schemas.microsoft.com/office/drawing/2014/main" id="{B9CF9B72-B9CC-D196-0286-A236F05E5297}"/>
              </a:ext>
            </a:extLst>
          </p:cNvPr>
          <p:cNvSpPr txBox="1"/>
          <p:nvPr/>
        </p:nvSpPr>
        <p:spPr>
          <a:xfrm>
            <a:off x="7236550" y="5048599"/>
            <a:ext cx="6099142" cy="433965"/>
          </a:xfrm>
          <a:prstGeom prst="rect">
            <a:avLst/>
          </a:prstGeom>
          <a:noFill/>
        </p:spPr>
        <p:txBody>
          <a:bodyPr wrap="square">
            <a:spAutoFit/>
          </a:bodyPr>
          <a:lstStyle/>
          <a:p>
            <a:pPr marL="0" marR="0" lvl="0" indent="0" algn="ctr" defTabSz="914400" rtl="1" eaLnBrk="1" fontAlgn="auto" latinLnBrk="0" hangingPunct="1">
              <a:lnSpc>
                <a:spcPct val="90000"/>
              </a:lnSpc>
              <a:spcBef>
                <a:spcPct val="0"/>
              </a:spcBef>
              <a:spcAft>
                <a:spcPts val="0"/>
              </a:spcAft>
              <a:buClrTx/>
              <a:buSzTx/>
              <a:buFontTx/>
              <a:buNone/>
              <a:tabLst/>
              <a:defRPr/>
            </a:pPr>
            <a:r>
              <a:rPr lang="en-US" sz="2400" b="1" dirty="0">
                <a:solidFill>
                  <a:srgbClr val="7F6000"/>
                </a:solidFill>
                <a:latin typeface="Arial" panose="020B0604020202020204" pitchFamily="34" charset="0"/>
                <a:ea typeface="+mj-ea"/>
                <a:cs typeface="Arial" panose="020B0604020202020204" pitchFamily="34" charset="0"/>
                <a:sym typeface="Sakkal Majalla" panose="02000000000000000000" pitchFamily="2" charset="-78"/>
              </a:rPr>
              <a:t>Industrial Exports</a:t>
            </a:r>
            <a:endParaRPr lang="ar-AE" sz="2400" b="1" dirty="0">
              <a:solidFill>
                <a:srgbClr val="7F6000"/>
              </a:solidFill>
              <a:latin typeface="Arial" panose="020B0604020202020204" pitchFamily="34" charset="0"/>
              <a:ea typeface="+mj-ea"/>
              <a:cs typeface="Arial" panose="020B0604020202020204" pitchFamily="34" charset="0"/>
              <a:sym typeface="Sakkal Majalla" panose="02000000000000000000" pitchFamily="2" charset="-78"/>
            </a:endParaRPr>
          </a:p>
        </p:txBody>
      </p:sp>
      <p:sp>
        <p:nvSpPr>
          <p:cNvPr id="150" name="Rectangle 149">
            <a:extLst>
              <a:ext uri="{FF2B5EF4-FFF2-40B4-BE49-F238E27FC236}">
                <a16:creationId xmlns:a16="http://schemas.microsoft.com/office/drawing/2014/main" id="{D1804675-9134-2104-B4CE-EB4F0CCB7828}"/>
              </a:ext>
            </a:extLst>
          </p:cNvPr>
          <p:cNvSpPr/>
          <p:nvPr/>
        </p:nvSpPr>
        <p:spPr>
          <a:xfrm>
            <a:off x="8476446" y="3597404"/>
            <a:ext cx="3545341" cy="1997439"/>
          </a:xfrm>
          <a:prstGeom prst="rect">
            <a:avLst/>
          </a:prstGeom>
          <a:noFill/>
          <a:ln>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custData r:id="rId1"/>
    </p:custDataLst>
    <p:extLst>
      <p:ext uri="{BB962C8B-B14F-4D97-AF65-F5344CB8AC3E}">
        <p14:creationId xmlns:p14="http://schemas.microsoft.com/office/powerpoint/2010/main" val="3955282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E7B8E4-9A0A-07F5-B384-C5A074AFD7A2}"/>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id="{D4C1C029-06C3-112E-B111-91E66F323472}"/>
              </a:ext>
            </a:extLst>
          </p:cNvPr>
          <p:cNvGraphicFramePr>
            <a:graphicFrameLocks noChangeAspect="1"/>
          </p:cNvGraphicFramePr>
          <p:nvPr>
            <p:custDataLst>
              <p:tags r:id="rId2"/>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name="think-cell Slide" r:id="rId6" imgW="606" imgH="608" progId="TCLayout.ActiveDocument.1">
                  <p:embed/>
                </p:oleObj>
              </mc:Choice>
              <mc:Fallback>
                <p:oleObj name="think-cell Slide" r:id="rId6" imgW="606" imgH="608" progId="TCLayout.ActiveDocument.1">
                  <p:embed/>
                  <p:pic>
                    <p:nvPicPr>
                      <p:cNvPr id="4" name="Object 3" hidden="1">
                        <a:extLst>
                          <a:ext uri="{FF2B5EF4-FFF2-40B4-BE49-F238E27FC236}">
                            <a16:creationId xmlns:a16="http://schemas.microsoft.com/office/drawing/2014/main" id="{D4C1C029-06C3-112E-B111-91E66F323472}"/>
                          </a:ext>
                        </a:extLst>
                      </p:cNvPr>
                      <p:cNvPicPr/>
                      <p:nvPr/>
                    </p:nvPicPr>
                    <p:blipFill>
                      <a:blip r:embed="rId7"/>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EF72DBF-15FB-04F1-C184-998CBC5EEFAA}"/>
              </a:ext>
            </a:extLst>
          </p:cNvPr>
          <p:cNvSpPr/>
          <p:nvPr>
            <p:custDataLst>
              <p:tags r:id="rId3"/>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cxnSp>
        <p:nvCxnSpPr>
          <p:cNvPr id="2" name="Straight Connector 1">
            <a:extLst>
              <a:ext uri="{FF2B5EF4-FFF2-40B4-BE49-F238E27FC236}">
                <a16:creationId xmlns:a16="http://schemas.microsoft.com/office/drawing/2014/main" id="{63B7447B-485D-61A5-A214-4B27A826B055}"/>
              </a:ext>
            </a:extLst>
          </p:cNvPr>
          <p:cNvCxnSpPr/>
          <p:nvPr/>
        </p:nvCxnSpPr>
        <p:spPr>
          <a:xfrm>
            <a:off x="254418"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17">
            <a:extLst>
              <a:ext uri="{FF2B5EF4-FFF2-40B4-BE49-F238E27FC236}">
                <a16:creationId xmlns:a16="http://schemas.microsoft.com/office/drawing/2014/main" id="{2700B541-0B7C-1CFD-1C90-8F5D38772D14}"/>
              </a:ext>
            </a:extLst>
          </p:cNvPr>
          <p:cNvSpPr/>
          <p:nvPr/>
        </p:nvSpPr>
        <p:spPr>
          <a:xfrm rot="10800000">
            <a:off x="12056882" y="0"/>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prstClr val="black"/>
              </a:solidFill>
              <a:effectLst/>
              <a:uLnTx/>
              <a:uFillTx/>
              <a:latin typeface="Sakkal Majalla" panose="02000000000000000000" pitchFamily="2" charset="-78"/>
              <a:ea typeface="+mn-ea"/>
              <a:cs typeface="Sakkal Majalla" panose="02000000000000000000" pitchFamily="2" charset="-78"/>
            </a:endParaRPr>
          </a:p>
        </p:txBody>
      </p:sp>
      <p:sp>
        <p:nvSpPr>
          <p:cNvPr id="5" name="Rectangle 4">
            <a:extLst>
              <a:ext uri="{FF2B5EF4-FFF2-40B4-BE49-F238E27FC236}">
                <a16:creationId xmlns:a16="http://schemas.microsoft.com/office/drawing/2014/main" id="{A3561A56-CFE5-2C6E-B0F2-23A2B6C3EDC1}"/>
              </a:ext>
            </a:extLst>
          </p:cNvPr>
          <p:cNvSpPr/>
          <p:nvPr/>
        </p:nvSpPr>
        <p:spPr>
          <a:xfrm>
            <a:off x="3298968" y="1031136"/>
            <a:ext cx="2664004" cy="2183114"/>
          </a:xfrm>
          <a:prstGeom prst="rect">
            <a:avLst/>
          </a:prstGeom>
          <a:solidFill>
            <a:srgbClr val="D1CBBF">
              <a:alpha val="2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AE" sz="2000" b="0"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endParaRPr>
          </a:p>
        </p:txBody>
      </p:sp>
      <p:sp>
        <p:nvSpPr>
          <p:cNvPr id="6" name="Rectangle 5">
            <a:extLst>
              <a:ext uri="{FF2B5EF4-FFF2-40B4-BE49-F238E27FC236}">
                <a16:creationId xmlns:a16="http://schemas.microsoft.com/office/drawing/2014/main" id="{6E260551-1DCE-A6E6-5FBD-8AFDCDC40530}"/>
              </a:ext>
            </a:extLst>
          </p:cNvPr>
          <p:cNvSpPr/>
          <p:nvPr/>
        </p:nvSpPr>
        <p:spPr>
          <a:xfrm>
            <a:off x="6097092" y="1044581"/>
            <a:ext cx="2664004" cy="2162129"/>
          </a:xfrm>
          <a:prstGeom prst="rect">
            <a:avLst/>
          </a:prstGeom>
          <a:solidFill>
            <a:srgbClr val="D1CBBF">
              <a:alpha val="2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AE" sz="2000" b="0"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endParaRPr>
          </a:p>
        </p:txBody>
      </p:sp>
      <p:sp>
        <p:nvSpPr>
          <p:cNvPr id="9" name="TextBox 8">
            <a:extLst>
              <a:ext uri="{FF2B5EF4-FFF2-40B4-BE49-F238E27FC236}">
                <a16:creationId xmlns:a16="http://schemas.microsoft.com/office/drawing/2014/main" id="{CB6C3CCD-2041-DC88-D292-2D9AA60DECA6}"/>
              </a:ext>
            </a:extLst>
          </p:cNvPr>
          <p:cNvSpPr txBox="1"/>
          <p:nvPr/>
        </p:nvSpPr>
        <p:spPr>
          <a:xfrm>
            <a:off x="6186126" y="1148897"/>
            <a:ext cx="2301005" cy="505523"/>
          </a:xfrm>
          <a:prstGeom prst="rect">
            <a:avLst/>
          </a:prstGeom>
        </p:spPr>
        <p:txBody>
          <a:bodyPr vert="horz" wrap="square" lIns="0" tIns="0" rIns="0" bIns="0" rtlCol="0">
            <a:spAutoFit/>
          </a:bodyPr>
          <a:lstStyle>
            <a:defPPr>
              <a:defRPr lang="en-US"/>
            </a:defPPr>
            <a:lvl1pPr marR="0" lvl="0" indent="0" rtl="1" fontAlgn="auto">
              <a:lnSpc>
                <a:spcPct val="90000"/>
              </a:lnSpc>
              <a:spcBef>
                <a:spcPts val="0"/>
              </a:spcBef>
              <a:spcAft>
                <a:spcPts val="0"/>
              </a:spcAft>
              <a:buClrTx/>
              <a:buSzTx/>
              <a:buFont typeface="Arial Narrow" pitchFamily="34" charset="0"/>
              <a:buNone/>
              <a:tabLst/>
              <a:defRPr kumimoji="0" b="1" i="0" u="none" strike="noStrike" cap="none" spc="0" normalizeH="0" baseline="0">
                <a:ln>
                  <a:noFill/>
                </a:ln>
                <a:solidFill>
                  <a:srgbClr val="55513F"/>
                </a:solidFill>
                <a:effectLst/>
                <a:uLnTx/>
                <a:uFillTx/>
                <a:latin typeface="Arial" panose="020B0604020202020204" pitchFamily="34" charset="0"/>
                <a:cs typeface="Arial" panose="020B0604020202020204" pitchFamily="34" charset="0"/>
              </a:defRPr>
            </a:lvl1pPr>
            <a:lvl2pPr marL="230400" lvl="1" indent="-230400">
              <a:lnSpc>
                <a:spcPct val="90000"/>
              </a:lnSpc>
              <a:spcBef>
                <a:spcPts val="1200"/>
              </a:spcBef>
              <a:buFont typeface="Arial" panose="020B0604020202020204" pitchFamily="34" charset="0"/>
              <a:buChar char="•"/>
              <a:defRPr b="0">
                <a:latin typeface="ITC Avant Garde Std Md" panose="020B0602020202020204"/>
              </a:defRPr>
            </a:lvl2pPr>
            <a:lvl3pPr marL="482400" lvl="2" indent="-234000">
              <a:lnSpc>
                <a:spcPct val="90000"/>
              </a:lnSpc>
              <a:spcBef>
                <a:spcPts val="400"/>
              </a:spcBef>
              <a:buFont typeface="Arial" panose="020B0604020202020204" pitchFamily="34" charset="0"/>
              <a:buChar char="•"/>
              <a:defRPr b="0">
                <a:latin typeface="ITC Avant Garde Std Md" panose="020B0602020202020204"/>
              </a:defRPr>
            </a:lvl3pPr>
            <a:lvl4pPr marL="698400" lvl="3" indent="-201600">
              <a:lnSpc>
                <a:spcPct val="90000"/>
              </a:lnSpc>
              <a:spcBef>
                <a:spcPts val="200"/>
              </a:spcBef>
              <a:buFont typeface="Arial" panose="020B0604020202020204" pitchFamily="34" charset="0"/>
              <a:buChar char="•"/>
              <a:defRPr b="0">
                <a:latin typeface="ITC Avant Garde Std Md" panose="020B0602020202020204"/>
              </a:defRPr>
            </a:lvl4pPr>
            <a:lvl5pPr marL="698400" indent="0">
              <a:lnSpc>
                <a:spcPct val="93000"/>
              </a:lnSpc>
              <a:spcBef>
                <a:spcPts val="0"/>
              </a:spcBef>
              <a:buFont typeface="Arial Narrow" pitchFamily="34" charset="0"/>
              <a:buNone/>
              <a:defRPr sz="1700">
                <a:latin typeface="Arial Narrow" pitchFamily="34" charset="0"/>
              </a:defRPr>
            </a:lvl5pPr>
            <a:lvl6pPr marL="2514600" indent="-228600">
              <a:spcBef>
                <a:spcPct val="20000"/>
              </a:spcBef>
              <a:buFont typeface="Arial Narrow" pitchFamily="34" charset="0"/>
              <a:buChar char="•"/>
              <a:defRPr sz="2000"/>
            </a:lvl6pPr>
            <a:lvl7pPr marL="2971800" indent="-228600">
              <a:spcBef>
                <a:spcPct val="20000"/>
              </a:spcBef>
              <a:buFont typeface="Arial Narrow" pitchFamily="34" charset="0"/>
              <a:buChar char="•"/>
              <a:defRPr sz="2000"/>
            </a:lvl7pPr>
            <a:lvl8pPr marL="3429000" indent="-228600">
              <a:spcBef>
                <a:spcPct val="20000"/>
              </a:spcBef>
              <a:buFont typeface="Arial Narrow" pitchFamily="34" charset="0"/>
              <a:buChar char="•"/>
              <a:defRPr sz="2000"/>
            </a:lvl8pPr>
            <a:lvl9pPr marL="3886200" indent="-228600">
              <a:spcBef>
                <a:spcPct val="20000"/>
              </a:spcBef>
              <a:buFont typeface="Arial Narrow" pitchFamily="34" charset="0"/>
              <a:buChar char="•"/>
              <a:defRPr sz="2000"/>
            </a:lvl9pPr>
          </a:lstStyle>
          <a:p>
            <a:r>
              <a:rPr lang="en-US" dirty="0">
                <a:sym typeface="Sakkal Majalla" panose="02000000000000000000" pitchFamily="2" charset="-78"/>
              </a:rPr>
              <a:t>Food and agriculture </a:t>
            </a:r>
            <a:endParaRPr lang="ar" dirty="0">
              <a:sym typeface="Sakkal Majalla" panose="02000000000000000000" pitchFamily="2" charset="-78"/>
            </a:endParaRPr>
          </a:p>
        </p:txBody>
      </p:sp>
      <p:sp>
        <p:nvSpPr>
          <p:cNvPr id="10" name="TextBox 9">
            <a:extLst>
              <a:ext uri="{FF2B5EF4-FFF2-40B4-BE49-F238E27FC236}">
                <a16:creationId xmlns:a16="http://schemas.microsoft.com/office/drawing/2014/main" id="{99358A63-9CC8-D809-9DF1-65B0B7D99570}"/>
              </a:ext>
            </a:extLst>
          </p:cNvPr>
          <p:cNvSpPr txBox="1"/>
          <p:nvPr/>
        </p:nvSpPr>
        <p:spPr>
          <a:xfrm>
            <a:off x="3342497" y="1197818"/>
            <a:ext cx="2041689" cy="249299"/>
          </a:xfrm>
          <a:prstGeom prst="rect">
            <a:avLst/>
          </a:prstGeom>
        </p:spPr>
        <p:txBody>
          <a:bodyPr vert="horz" wrap="square" lIns="0" tIns="0" rIns="0" bIns="0" rtlCol="0">
            <a:spAutoFit/>
          </a:bodyPr>
          <a:lstStyle>
            <a:defPPr>
              <a:defRPr lang="en-US"/>
            </a:defPPr>
            <a:lvl1pPr marR="0" lvl="0" indent="0" rtl="1" fontAlgn="auto">
              <a:lnSpc>
                <a:spcPct val="90000"/>
              </a:lnSpc>
              <a:spcBef>
                <a:spcPts val="0"/>
              </a:spcBef>
              <a:spcAft>
                <a:spcPts val="0"/>
              </a:spcAft>
              <a:buClrTx/>
              <a:buSzTx/>
              <a:buFont typeface="Arial Narrow" pitchFamily="34" charset="0"/>
              <a:buNone/>
              <a:tabLst/>
              <a:defRPr kumimoji="0" b="1" i="0" u="none" strike="noStrike" cap="none" spc="0" normalizeH="0" baseline="0">
                <a:ln>
                  <a:noFill/>
                </a:ln>
                <a:solidFill>
                  <a:srgbClr val="55513F"/>
                </a:solidFill>
                <a:effectLst/>
                <a:uLnTx/>
                <a:uFillTx/>
                <a:latin typeface="Arial" panose="020B0604020202020204" pitchFamily="34" charset="0"/>
                <a:cs typeface="Arial" panose="020B0604020202020204" pitchFamily="34" charset="0"/>
              </a:defRPr>
            </a:lvl1pPr>
            <a:lvl2pPr marL="230400" lvl="1" indent="-230400">
              <a:lnSpc>
                <a:spcPct val="90000"/>
              </a:lnSpc>
              <a:spcBef>
                <a:spcPts val="1200"/>
              </a:spcBef>
              <a:buFont typeface="Arial" panose="020B0604020202020204" pitchFamily="34" charset="0"/>
              <a:buChar char="•"/>
              <a:defRPr b="0">
                <a:latin typeface="ITC Avant Garde Std Md" panose="020B0602020202020204"/>
              </a:defRPr>
            </a:lvl2pPr>
            <a:lvl3pPr marL="482400" lvl="2" indent="-234000">
              <a:lnSpc>
                <a:spcPct val="90000"/>
              </a:lnSpc>
              <a:spcBef>
                <a:spcPts val="400"/>
              </a:spcBef>
              <a:buFont typeface="Arial" panose="020B0604020202020204" pitchFamily="34" charset="0"/>
              <a:buChar char="•"/>
              <a:defRPr b="0">
                <a:latin typeface="ITC Avant Garde Std Md" panose="020B0602020202020204"/>
              </a:defRPr>
            </a:lvl3pPr>
            <a:lvl4pPr marL="698400" lvl="3" indent="-201600">
              <a:lnSpc>
                <a:spcPct val="90000"/>
              </a:lnSpc>
              <a:spcBef>
                <a:spcPts val="200"/>
              </a:spcBef>
              <a:buFont typeface="Arial" panose="020B0604020202020204" pitchFamily="34" charset="0"/>
              <a:buChar char="•"/>
              <a:defRPr b="0">
                <a:latin typeface="ITC Avant Garde Std Md" panose="020B0602020202020204"/>
              </a:defRPr>
            </a:lvl4pPr>
            <a:lvl5pPr marL="698400" indent="0">
              <a:lnSpc>
                <a:spcPct val="93000"/>
              </a:lnSpc>
              <a:spcBef>
                <a:spcPts val="0"/>
              </a:spcBef>
              <a:buFont typeface="Arial Narrow" pitchFamily="34" charset="0"/>
              <a:buNone/>
              <a:defRPr sz="1700">
                <a:latin typeface="Arial Narrow" pitchFamily="34" charset="0"/>
              </a:defRPr>
            </a:lvl5pPr>
            <a:lvl6pPr marL="2514600" indent="-228600">
              <a:spcBef>
                <a:spcPct val="20000"/>
              </a:spcBef>
              <a:buFont typeface="Arial Narrow" pitchFamily="34" charset="0"/>
              <a:buChar char="•"/>
              <a:defRPr sz="2000"/>
            </a:lvl6pPr>
            <a:lvl7pPr marL="2971800" indent="-228600">
              <a:spcBef>
                <a:spcPct val="20000"/>
              </a:spcBef>
              <a:buFont typeface="Arial Narrow" pitchFamily="34" charset="0"/>
              <a:buChar char="•"/>
              <a:defRPr sz="2000"/>
            </a:lvl7pPr>
            <a:lvl8pPr marL="3429000" indent="-228600">
              <a:spcBef>
                <a:spcPct val="20000"/>
              </a:spcBef>
              <a:buFont typeface="Arial Narrow" pitchFamily="34" charset="0"/>
              <a:buChar char="•"/>
              <a:defRPr sz="2000"/>
            </a:lvl8pPr>
            <a:lvl9pPr marL="3886200" indent="-228600">
              <a:spcBef>
                <a:spcPct val="20000"/>
              </a:spcBef>
              <a:buFont typeface="Arial Narrow" pitchFamily="34" charset="0"/>
              <a:buChar char="•"/>
              <a:defRPr sz="2000"/>
            </a:lvl9pPr>
          </a:lstStyle>
          <a:p>
            <a:r>
              <a:rPr lang="en-US" dirty="0">
                <a:sym typeface="Sakkal Majalla" panose="02000000000000000000" pitchFamily="2" charset="-78"/>
              </a:rPr>
              <a:t>Metals</a:t>
            </a:r>
            <a:endParaRPr lang="ar" dirty="0">
              <a:sym typeface="Sakkal Majalla" panose="02000000000000000000" pitchFamily="2" charset="-78"/>
            </a:endParaRPr>
          </a:p>
        </p:txBody>
      </p:sp>
      <p:sp>
        <p:nvSpPr>
          <p:cNvPr id="11" name="Rectangle 10">
            <a:extLst>
              <a:ext uri="{FF2B5EF4-FFF2-40B4-BE49-F238E27FC236}">
                <a16:creationId xmlns:a16="http://schemas.microsoft.com/office/drawing/2014/main" id="{74470C13-F1D4-07C1-1CAE-AB1469A2FCFC}"/>
              </a:ext>
            </a:extLst>
          </p:cNvPr>
          <p:cNvSpPr/>
          <p:nvPr/>
        </p:nvSpPr>
        <p:spPr>
          <a:xfrm>
            <a:off x="9077460" y="4009660"/>
            <a:ext cx="2674189" cy="2634332"/>
          </a:xfrm>
          <a:prstGeom prst="rect">
            <a:avLst/>
          </a:prstGeom>
          <a:solidFill>
            <a:srgbClr val="D1CBBF">
              <a:alpha val="2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AE" sz="1100" b="0" i="0" u="none" strike="noStrike" kern="1200" cap="none" spc="0" normalizeH="0" baseline="0" noProof="0" dirty="0">
              <a:ln>
                <a:noFill/>
              </a:ln>
              <a:solidFill>
                <a:prstClr val="white"/>
              </a:solidFill>
              <a:effectLst/>
              <a:uLnTx/>
              <a:uFillTx/>
              <a:latin typeface="Calibri Light" panose="020F0302020204030204"/>
              <a:ea typeface="+mn-ea"/>
              <a:cs typeface="Janna LT" panose="01000000000000000000"/>
            </a:endParaRPr>
          </a:p>
        </p:txBody>
      </p:sp>
      <p:sp>
        <p:nvSpPr>
          <p:cNvPr id="12" name="TextBox 11">
            <a:extLst>
              <a:ext uri="{FF2B5EF4-FFF2-40B4-BE49-F238E27FC236}">
                <a16:creationId xmlns:a16="http://schemas.microsoft.com/office/drawing/2014/main" id="{56BAACC1-F81F-5BB4-943D-445FB65E6630}"/>
              </a:ext>
            </a:extLst>
          </p:cNvPr>
          <p:cNvSpPr txBox="1"/>
          <p:nvPr/>
        </p:nvSpPr>
        <p:spPr>
          <a:xfrm>
            <a:off x="8968175" y="4212099"/>
            <a:ext cx="2301005" cy="249299"/>
          </a:xfrm>
          <a:prstGeom prst="rect">
            <a:avLst/>
          </a:prstGeom>
        </p:spPr>
        <p:txBody>
          <a:bodyPr vert="horz" wrap="square" lIns="0" tIns="0" rIns="0" bIns="0" rtlCol="0">
            <a:spAutoFit/>
          </a:bodyPr>
          <a:lstStyle>
            <a:defPPr>
              <a:defRPr lang="en-US"/>
            </a:defPPr>
            <a:lvl1pPr marR="0" lvl="0" indent="0" rtl="1" fontAlgn="auto">
              <a:lnSpc>
                <a:spcPct val="90000"/>
              </a:lnSpc>
              <a:spcBef>
                <a:spcPts val="0"/>
              </a:spcBef>
              <a:spcAft>
                <a:spcPts val="0"/>
              </a:spcAft>
              <a:buClrTx/>
              <a:buSzTx/>
              <a:buFont typeface="Arial Narrow" pitchFamily="34" charset="0"/>
              <a:buNone/>
              <a:tabLst/>
              <a:defRPr kumimoji="0" b="1" i="0" u="none" strike="noStrike" cap="none" spc="0" normalizeH="0" baseline="0">
                <a:ln>
                  <a:noFill/>
                </a:ln>
                <a:solidFill>
                  <a:srgbClr val="55513F"/>
                </a:solidFill>
                <a:effectLst/>
                <a:uLnTx/>
                <a:uFillTx/>
                <a:latin typeface="Arial" panose="020B0604020202020204" pitchFamily="34" charset="0"/>
                <a:cs typeface="Arial" panose="020B0604020202020204" pitchFamily="34" charset="0"/>
              </a:defRPr>
            </a:lvl1pPr>
            <a:lvl2pPr marL="230400" lvl="1" indent="-230400">
              <a:lnSpc>
                <a:spcPct val="90000"/>
              </a:lnSpc>
              <a:spcBef>
                <a:spcPts val="1200"/>
              </a:spcBef>
              <a:buFont typeface="Arial" panose="020B0604020202020204" pitchFamily="34" charset="0"/>
              <a:buChar char="•"/>
              <a:defRPr b="0">
                <a:latin typeface="ITC Avant Garde Std Md" panose="020B0602020202020204"/>
              </a:defRPr>
            </a:lvl2pPr>
            <a:lvl3pPr marL="482400" lvl="2" indent="-234000">
              <a:lnSpc>
                <a:spcPct val="90000"/>
              </a:lnSpc>
              <a:spcBef>
                <a:spcPts val="400"/>
              </a:spcBef>
              <a:buFont typeface="Arial" panose="020B0604020202020204" pitchFamily="34" charset="0"/>
              <a:buChar char="•"/>
              <a:defRPr b="0">
                <a:latin typeface="ITC Avant Garde Std Md" panose="020B0602020202020204"/>
              </a:defRPr>
            </a:lvl3pPr>
            <a:lvl4pPr marL="698400" lvl="3" indent="-201600">
              <a:lnSpc>
                <a:spcPct val="90000"/>
              </a:lnSpc>
              <a:spcBef>
                <a:spcPts val="200"/>
              </a:spcBef>
              <a:buFont typeface="Arial" panose="020B0604020202020204" pitchFamily="34" charset="0"/>
              <a:buChar char="•"/>
              <a:defRPr b="0">
                <a:latin typeface="ITC Avant Garde Std Md" panose="020B0602020202020204"/>
              </a:defRPr>
            </a:lvl4pPr>
            <a:lvl5pPr marL="698400" indent="0">
              <a:lnSpc>
                <a:spcPct val="93000"/>
              </a:lnSpc>
              <a:spcBef>
                <a:spcPts val="0"/>
              </a:spcBef>
              <a:buFont typeface="Arial Narrow" pitchFamily="34" charset="0"/>
              <a:buNone/>
              <a:defRPr sz="1700">
                <a:latin typeface="Arial Narrow" pitchFamily="34" charset="0"/>
              </a:defRPr>
            </a:lvl5pPr>
            <a:lvl6pPr marL="2514600" indent="-228600">
              <a:spcBef>
                <a:spcPct val="20000"/>
              </a:spcBef>
              <a:buFont typeface="Arial Narrow" pitchFamily="34" charset="0"/>
              <a:buChar char="•"/>
              <a:defRPr sz="2000"/>
            </a:lvl6pPr>
            <a:lvl7pPr marL="2971800" indent="-228600">
              <a:spcBef>
                <a:spcPct val="20000"/>
              </a:spcBef>
              <a:buFont typeface="Arial Narrow" pitchFamily="34" charset="0"/>
              <a:buChar char="•"/>
              <a:defRPr sz="2000"/>
            </a:lvl7pPr>
            <a:lvl8pPr marL="3429000" indent="-228600">
              <a:spcBef>
                <a:spcPct val="20000"/>
              </a:spcBef>
              <a:buFont typeface="Arial Narrow" pitchFamily="34" charset="0"/>
              <a:buChar char="•"/>
              <a:defRPr sz="2000"/>
            </a:lvl8pPr>
            <a:lvl9pPr marL="3886200" indent="-228600">
              <a:spcBef>
                <a:spcPct val="20000"/>
              </a:spcBef>
              <a:buFont typeface="Arial Narrow" pitchFamily="34" charset="0"/>
              <a:buChar char="•"/>
              <a:defRPr sz="2000"/>
            </a:lvl9pPr>
          </a:lstStyle>
          <a:p>
            <a:r>
              <a:rPr lang="en-US" dirty="0">
                <a:sym typeface="Sakkal Majalla" panose="02000000000000000000" pitchFamily="2" charset="-78"/>
              </a:rPr>
              <a:t>Textiles</a:t>
            </a:r>
            <a:endParaRPr lang="ar" dirty="0">
              <a:sym typeface="Sakkal Majalla" panose="02000000000000000000" pitchFamily="2" charset="-78"/>
            </a:endParaRPr>
          </a:p>
        </p:txBody>
      </p:sp>
      <p:sp>
        <p:nvSpPr>
          <p:cNvPr id="13" name="Rectangle 12">
            <a:extLst>
              <a:ext uri="{FF2B5EF4-FFF2-40B4-BE49-F238E27FC236}">
                <a16:creationId xmlns:a16="http://schemas.microsoft.com/office/drawing/2014/main" id="{4C56A250-87A7-901B-A9CE-864DC55C8CB7}"/>
              </a:ext>
            </a:extLst>
          </p:cNvPr>
          <p:cNvSpPr/>
          <p:nvPr/>
        </p:nvSpPr>
        <p:spPr>
          <a:xfrm>
            <a:off x="6130955" y="4009660"/>
            <a:ext cx="2664004" cy="2317970"/>
          </a:xfrm>
          <a:prstGeom prst="rect">
            <a:avLst/>
          </a:prstGeom>
          <a:solidFill>
            <a:srgbClr val="D1CBBF">
              <a:alpha val="2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AE" sz="1100" b="0" i="0" u="none" strike="noStrike" kern="1200" cap="none" spc="0" normalizeH="0" baseline="0" noProof="0" dirty="0">
              <a:ln>
                <a:noFill/>
              </a:ln>
              <a:solidFill>
                <a:prstClr val="white"/>
              </a:solidFill>
              <a:effectLst/>
              <a:uLnTx/>
              <a:uFillTx/>
              <a:latin typeface="Calibri Light" panose="020F0302020204030204"/>
              <a:ea typeface="+mn-ea"/>
              <a:cs typeface="Janna LT" panose="01000000000000000000"/>
            </a:endParaRPr>
          </a:p>
        </p:txBody>
      </p:sp>
      <p:sp>
        <p:nvSpPr>
          <p:cNvPr id="14" name="TextBox 13">
            <a:extLst>
              <a:ext uri="{FF2B5EF4-FFF2-40B4-BE49-F238E27FC236}">
                <a16:creationId xmlns:a16="http://schemas.microsoft.com/office/drawing/2014/main" id="{5DB9F7D5-2DD8-9B9C-5DB7-7D9F79B80F71}"/>
              </a:ext>
            </a:extLst>
          </p:cNvPr>
          <p:cNvSpPr txBox="1"/>
          <p:nvPr/>
        </p:nvSpPr>
        <p:spPr>
          <a:xfrm>
            <a:off x="6302411" y="4239029"/>
            <a:ext cx="2271656" cy="249299"/>
          </a:xfrm>
          <a:prstGeom prst="rect">
            <a:avLst/>
          </a:prstGeom>
        </p:spPr>
        <p:txBody>
          <a:bodyPr vert="horz" wrap="square" lIns="0" tIns="0" rIns="0" bIns="0" rtlCol="0">
            <a:spAutoFit/>
          </a:bodyPr>
          <a:lstStyle>
            <a:defPPr>
              <a:defRPr lang="en-US"/>
            </a:defPPr>
            <a:lvl1pPr marR="0" lvl="0" indent="0" rtl="1" fontAlgn="auto">
              <a:lnSpc>
                <a:spcPct val="90000"/>
              </a:lnSpc>
              <a:spcBef>
                <a:spcPts val="0"/>
              </a:spcBef>
              <a:spcAft>
                <a:spcPts val="0"/>
              </a:spcAft>
              <a:buClrTx/>
              <a:buSzTx/>
              <a:buFont typeface="Arial Narrow" pitchFamily="34" charset="0"/>
              <a:buNone/>
              <a:tabLst/>
              <a:defRPr kumimoji="0" b="1" i="0" u="none" strike="noStrike" cap="none" spc="0" normalizeH="0" baseline="0">
                <a:ln>
                  <a:noFill/>
                </a:ln>
                <a:solidFill>
                  <a:srgbClr val="55513F"/>
                </a:solidFill>
                <a:effectLst/>
                <a:uLnTx/>
                <a:uFillTx/>
                <a:latin typeface="Arial" panose="020B0604020202020204" pitchFamily="34" charset="0"/>
                <a:cs typeface="Arial" panose="020B0604020202020204" pitchFamily="34" charset="0"/>
              </a:defRPr>
            </a:lvl1pPr>
            <a:lvl2pPr marL="230400" lvl="1" indent="-230400">
              <a:lnSpc>
                <a:spcPct val="90000"/>
              </a:lnSpc>
              <a:spcBef>
                <a:spcPts val="1200"/>
              </a:spcBef>
              <a:buFont typeface="Arial" panose="020B0604020202020204" pitchFamily="34" charset="0"/>
              <a:buChar char="•"/>
              <a:defRPr b="0">
                <a:latin typeface="ITC Avant Garde Std Md" panose="020B0602020202020204"/>
              </a:defRPr>
            </a:lvl2pPr>
            <a:lvl3pPr marL="482400" lvl="2" indent="-234000">
              <a:lnSpc>
                <a:spcPct val="90000"/>
              </a:lnSpc>
              <a:spcBef>
                <a:spcPts val="400"/>
              </a:spcBef>
              <a:buFont typeface="Arial" panose="020B0604020202020204" pitchFamily="34" charset="0"/>
              <a:buChar char="•"/>
              <a:defRPr b="0">
                <a:latin typeface="ITC Avant Garde Std Md" panose="020B0602020202020204"/>
              </a:defRPr>
            </a:lvl3pPr>
            <a:lvl4pPr marL="698400" lvl="3" indent="-201600">
              <a:lnSpc>
                <a:spcPct val="90000"/>
              </a:lnSpc>
              <a:spcBef>
                <a:spcPts val="200"/>
              </a:spcBef>
              <a:buFont typeface="Arial" panose="020B0604020202020204" pitchFamily="34" charset="0"/>
              <a:buChar char="•"/>
              <a:defRPr b="0">
                <a:latin typeface="ITC Avant Garde Std Md" panose="020B0602020202020204"/>
              </a:defRPr>
            </a:lvl4pPr>
            <a:lvl5pPr marL="698400" indent="0">
              <a:lnSpc>
                <a:spcPct val="93000"/>
              </a:lnSpc>
              <a:spcBef>
                <a:spcPts val="0"/>
              </a:spcBef>
              <a:buFont typeface="Arial Narrow" pitchFamily="34" charset="0"/>
              <a:buNone/>
              <a:defRPr sz="1700">
                <a:latin typeface="Arial Narrow" pitchFamily="34" charset="0"/>
              </a:defRPr>
            </a:lvl5pPr>
            <a:lvl6pPr marL="2514600" indent="-228600">
              <a:spcBef>
                <a:spcPct val="20000"/>
              </a:spcBef>
              <a:buFont typeface="Arial Narrow" pitchFamily="34" charset="0"/>
              <a:buChar char="•"/>
              <a:defRPr sz="2000"/>
            </a:lvl6pPr>
            <a:lvl7pPr marL="2971800" indent="-228600">
              <a:spcBef>
                <a:spcPct val="20000"/>
              </a:spcBef>
              <a:buFont typeface="Arial Narrow" pitchFamily="34" charset="0"/>
              <a:buChar char="•"/>
              <a:defRPr sz="2000"/>
            </a:lvl7pPr>
            <a:lvl8pPr marL="3429000" indent="-228600">
              <a:spcBef>
                <a:spcPct val="20000"/>
              </a:spcBef>
              <a:buFont typeface="Arial Narrow" pitchFamily="34" charset="0"/>
              <a:buChar char="•"/>
              <a:defRPr sz="2000"/>
            </a:lvl8pPr>
            <a:lvl9pPr marL="3886200" indent="-228600">
              <a:spcBef>
                <a:spcPct val="20000"/>
              </a:spcBef>
              <a:buFont typeface="Arial Narrow" pitchFamily="34" charset="0"/>
              <a:buChar char="•"/>
              <a:defRPr sz="2000"/>
            </a:lvl9pPr>
          </a:lstStyle>
          <a:p>
            <a:r>
              <a:rPr lang="en-US" dirty="0">
                <a:sym typeface="Sakkal Majalla" panose="02000000000000000000" pitchFamily="2" charset="-78"/>
              </a:rPr>
              <a:t>Automotive</a:t>
            </a:r>
            <a:endParaRPr lang="ar" dirty="0">
              <a:sym typeface="Sakkal Majalla" panose="02000000000000000000" pitchFamily="2" charset="-78"/>
            </a:endParaRPr>
          </a:p>
        </p:txBody>
      </p:sp>
      <p:sp>
        <p:nvSpPr>
          <p:cNvPr id="15" name="Rectangle 14">
            <a:extLst>
              <a:ext uri="{FF2B5EF4-FFF2-40B4-BE49-F238E27FC236}">
                <a16:creationId xmlns:a16="http://schemas.microsoft.com/office/drawing/2014/main" id="{18BB7C13-31C0-3235-7233-90EB17FA9A90}"/>
              </a:ext>
            </a:extLst>
          </p:cNvPr>
          <p:cNvSpPr/>
          <p:nvPr/>
        </p:nvSpPr>
        <p:spPr>
          <a:xfrm>
            <a:off x="8426793" y="1044580"/>
            <a:ext cx="340380" cy="659596"/>
          </a:xfrm>
          <a:prstGeom prst="rect">
            <a:avLst/>
          </a:prstGeom>
          <a:solidFill>
            <a:srgbClr val="C6B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rPr>
              <a:t>2</a:t>
            </a:r>
          </a:p>
        </p:txBody>
      </p:sp>
      <p:sp>
        <p:nvSpPr>
          <p:cNvPr id="16" name="Rectangle 15">
            <a:extLst>
              <a:ext uri="{FF2B5EF4-FFF2-40B4-BE49-F238E27FC236}">
                <a16:creationId xmlns:a16="http://schemas.microsoft.com/office/drawing/2014/main" id="{8899AB22-2EA2-7D31-6FB2-6791CEF03E8E}"/>
              </a:ext>
            </a:extLst>
          </p:cNvPr>
          <p:cNvSpPr/>
          <p:nvPr/>
        </p:nvSpPr>
        <p:spPr>
          <a:xfrm>
            <a:off x="11411270" y="4011812"/>
            <a:ext cx="340380" cy="659596"/>
          </a:xfrm>
          <a:prstGeom prst="rect">
            <a:avLst/>
          </a:prstGeom>
          <a:solidFill>
            <a:srgbClr val="C6B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rPr>
              <a:t>5</a:t>
            </a:r>
          </a:p>
        </p:txBody>
      </p:sp>
      <p:sp>
        <p:nvSpPr>
          <p:cNvPr id="17" name="Rectangle 16">
            <a:extLst>
              <a:ext uri="{FF2B5EF4-FFF2-40B4-BE49-F238E27FC236}">
                <a16:creationId xmlns:a16="http://schemas.microsoft.com/office/drawing/2014/main" id="{7AF9747F-66BF-8137-6858-B845175465C3}"/>
              </a:ext>
            </a:extLst>
          </p:cNvPr>
          <p:cNvSpPr/>
          <p:nvPr/>
        </p:nvSpPr>
        <p:spPr>
          <a:xfrm>
            <a:off x="8454296" y="4011812"/>
            <a:ext cx="340380" cy="659596"/>
          </a:xfrm>
          <a:prstGeom prst="rect">
            <a:avLst/>
          </a:prstGeom>
          <a:solidFill>
            <a:srgbClr val="C6B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rPr>
              <a:t>6</a:t>
            </a:r>
          </a:p>
        </p:txBody>
      </p:sp>
      <p:cxnSp>
        <p:nvCxnSpPr>
          <p:cNvPr id="18" name="Straight Connector 17">
            <a:extLst>
              <a:ext uri="{FF2B5EF4-FFF2-40B4-BE49-F238E27FC236}">
                <a16:creationId xmlns:a16="http://schemas.microsoft.com/office/drawing/2014/main" id="{3293E332-D769-1020-3C52-0CFDBBE429F9}"/>
              </a:ext>
            </a:extLst>
          </p:cNvPr>
          <p:cNvCxnSpPr/>
          <p:nvPr/>
        </p:nvCxnSpPr>
        <p:spPr>
          <a:xfrm>
            <a:off x="6097092" y="1704175"/>
            <a:ext cx="2664004" cy="0"/>
          </a:xfrm>
          <a:prstGeom prst="line">
            <a:avLst/>
          </a:prstGeom>
          <a:ln>
            <a:solidFill>
              <a:srgbClr val="B6AE98"/>
            </a:solidFil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26C6D0A-AC72-9AC5-2D4E-614B99B0DC3C}"/>
              </a:ext>
            </a:extLst>
          </p:cNvPr>
          <p:cNvCxnSpPr/>
          <p:nvPr/>
        </p:nvCxnSpPr>
        <p:spPr>
          <a:xfrm>
            <a:off x="3254569" y="1638922"/>
            <a:ext cx="2664004" cy="0"/>
          </a:xfrm>
          <a:prstGeom prst="line">
            <a:avLst/>
          </a:prstGeom>
          <a:ln>
            <a:solidFill>
              <a:srgbClr val="B6AE98"/>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54B280C-5390-E0F5-60D0-5BCCA911D762}"/>
              </a:ext>
            </a:extLst>
          </p:cNvPr>
          <p:cNvCxnSpPr/>
          <p:nvPr/>
        </p:nvCxnSpPr>
        <p:spPr>
          <a:xfrm>
            <a:off x="9087646" y="4671407"/>
            <a:ext cx="2664004" cy="0"/>
          </a:xfrm>
          <a:prstGeom prst="line">
            <a:avLst/>
          </a:prstGeom>
          <a:ln>
            <a:solidFill>
              <a:srgbClr val="B6AE98"/>
            </a:solidFill>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49725AC-4725-DBAB-E873-ABBAE0F1BD04}"/>
              </a:ext>
            </a:extLst>
          </p:cNvPr>
          <p:cNvCxnSpPr/>
          <p:nvPr/>
        </p:nvCxnSpPr>
        <p:spPr>
          <a:xfrm>
            <a:off x="6136334" y="4671407"/>
            <a:ext cx="2664004" cy="0"/>
          </a:xfrm>
          <a:prstGeom prst="line">
            <a:avLst/>
          </a:prstGeom>
          <a:ln>
            <a:solidFill>
              <a:srgbClr val="B6AE98"/>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84340E2-5DDD-691A-362A-E499F4037B56}"/>
              </a:ext>
            </a:extLst>
          </p:cNvPr>
          <p:cNvCxnSpPr/>
          <p:nvPr/>
        </p:nvCxnSpPr>
        <p:spPr>
          <a:xfrm>
            <a:off x="9079097" y="1714479"/>
            <a:ext cx="2664004" cy="0"/>
          </a:xfrm>
          <a:prstGeom prst="line">
            <a:avLst/>
          </a:prstGeom>
          <a:ln>
            <a:solidFill>
              <a:srgbClr val="B6AE98"/>
            </a:solidFill>
            <a:tailEnd type="non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936F89E-4DDF-2CFE-9050-277300955105}"/>
              </a:ext>
            </a:extLst>
          </p:cNvPr>
          <p:cNvSpPr/>
          <p:nvPr/>
        </p:nvSpPr>
        <p:spPr>
          <a:xfrm>
            <a:off x="9079097" y="1054884"/>
            <a:ext cx="2664004" cy="2153758"/>
          </a:xfrm>
          <a:prstGeom prst="rect">
            <a:avLst/>
          </a:prstGeom>
          <a:solidFill>
            <a:srgbClr val="D1CBBF">
              <a:alpha val="2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300"/>
              </a:spcBef>
              <a:spcAft>
                <a:spcPts val="300"/>
              </a:spcAft>
              <a:buClrTx/>
              <a:buSzTx/>
              <a:buFontTx/>
              <a:buNone/>
              <a:tabLst/>
              <a:defRPr/>
            </a:pPr>
            <a:endParaRPr kumimoji="0" lang="en-AE" sz="2000" b="0"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endParaRPr>
          </a:p>
        </p:txBody>
      </p:sp>
      <p:sp>
        <p:nvSpPr>
          <p:cNvPr id="24" name="TextBox 23">
            <a:extLst>
              <a:ext uri="{FF2B5EF4-FFF2-40B4-BE49-F238E27FC236}">
                <a16:creationId xmlns:a16="http://schemas.microsoft.com/office/drawing/2014/main" id="{93ED032B-5E18-8546-F0E5-584761F5CD8D}"/>
              </a:ext>
            </a:extLst>
          </p:cNvPr>
          <p:cNvSpPr txBox="1"/>
          <p:nvPr/>
        </p:nvSpPr>
        <p:spPr>
          <a:xfrm>
            <a:off x="9110265" y="1250941"/>
            <a:ext cx="2301005" cy="256224"/>
          </a:xfrm>
          <a:prstGeom prst="rect">
            <a:avLst/>
          </a:prstGeom>
        </p:spPr>
        <p:txBody>
          <a:bodyPr vert="horz" wrap="square" lIns="0" tIns="0" rIns="0" bIns="0" rtlCol="0">
            <a:spAutoFit/>
          </a:bodyPr>
          <a:lstStyle>
            <a:defPPr>
              <a:defRPr lang="en-US"/>
            </a:defPPr>
            <a:lvl1pPr marR="0" lvl="0" indent="0" rtl="1" fontAlgn="auto">
              <a:lnSpc>
                <a:spcPct val="90000"/>
              </a:lnSpc>
              <a:spcBef>
                <a:spcPts val="0"/>
              </a:spcBef>
              <a:spcAft>
                <a:spcPts val="0"/>
              </a:spcAft>
              <a:buClrTx/>
              <a:buSzTx/>
              <a:buFont typeface="Arial Narrow" pitchFamily="34" charset="0"/>
              <a:buNone/>
              <a:tabLst/>
              <a:defRPr kumimoji="0" b="1" i="0" u="none" strike="noStrike" cap="none" spc="0" normalizeH="0" baseline="0">
                <a:ln>
                  <a:noFill/>
                </a:ln>
                <a:solidFill>
                  <a:srgbClr val="55513F"/>
                </a:solidFill>
                <a:effectLst/>
                <a:uLnTx/>
                <a:uFillTx/>
                <a:latin typeface="Arial" panose="020B0604020202020204" pitchFamily="34" charset="0"/>
                <a:cs typeface="Arial" panose="020B0604020202020204" pitchFamily="34" charset="0"/>
              </a:defRPr>
            </a:lvl1pPr>
            <a:lvl2pPr marL="230400" lvl="1" indent="-230400">
              <a:lnSpc>
                <a:spcPct val="90000"/>
              </a:lnSpc>
              <a:spcBef>
                <a:spcPts val="1200"/>
              </a:spcBef>
              <a:buFont typeface="Arial" panose="020B0604020202020204" pitchFamily="34" charset="0"/>
              <a:buChar char="•"/>
              <a:defRPr b="0">
                <a:latin typeface="ITC Avant Garde Std Md" panose="020B0602020202020204"/>
              </a:defRPr>
            </a:lvl2pPr>
            <a:lvl3pPr marL="482400" lvl="2" indent="-234000">
              <a:lnSpc>
                <a:spcPct val="90000"/>
              </a:lnSpc>
              <a:spcBef>
                <a:spcPts val="400"/>
              </a:spcBef>
              <a:buFont typeface="Arial" panose="020B0604020202020204" pitchFamily="34" charset="0"/>
              <a:buChar char="•"/>
              <a:defRPr b="0">
                <a:latin typeface="ITC Avant Garde Std Md" panose="020B0602020202020204"/>
              </a:defRPr>
            </a:lvl3pPr>
            <a:lvl4pPr marL="698400" lvl="3" indent="-201600">
              <a:lnSpc>
                <a:spcPct val="90000"/>
              </a:lnSpc>
              <a:spcBef>
                <a:spcPts val="200"/>
              </a:spcBef>
              <a:buFont typeface="Arial" panose="020B0604020202020204" pitchFamily="34" charset="0"/>
              <a:buChar char="•"/>
              <a:defRPr b="0">
                <a:latin typeface="ITC Avant Garde Std Md" panose="020B0602020202020204"/>
              </a:defRPr>
            </a:lvl4pPr>
            <a:lvl5pPr marL="698400" indent="0">
              <a:lnSpc>
                <a:spcPct val="93000"/>
              </a:lnSpc>
              <a:spcBef>
                <a:spcPts val="0"/>
              </a:spcBef>
              <a:buFont typeface="Arial Narrow" pitchFamily="34" charset="0"/>
              <a:buNone/>
              <a:defRPr sz="1700">
                <a:latin typeface="Arial Narrow" pitchFamily="34" charset="0"/>
              </a:defRPr>
            </a:lvl5pPr>
            <a:lvl6pPr marL="2514600" indent="-228600">
              <a:spcBef>
                <a:spcPct val="20000"/>
              </a:spcBef>
              <a:buFont typeface="Arial Narrow" pitchFamily="34" charset="0"/>
              <a:buChar char="•"/>
              <a:defRPr sz="2000"/>
            </a:lvl6pPr>
            <a:lvl7pPr marL="2971800" indent="-228600">
              <a:spcBef>
                <a:spcPct val="20000"/>
              </a:spcBef>
              <a:buFont typeface="Arial Narrow" pitchFamily="34" charset="0"/>
              <a:buChar char="•"/>
              <a:defRPr sz="2000"/>
            </a:lvl7pPr>
            <a:lvl8pPr marL="3429000" indent="-228600">
              <a:spcBef>
                <a:spcPct val="20000"/>
              </a:spcBef>
              <a:buFont typeface="Arial Narrow" pitchFamily="34" charset="0"/>
              <a:buChar char="•"/>
              <a:defRPr sz="2000"/>
            </a:lvl8pPr>
            <a:lvl9pPr marL="3886200" indent="-228600">
              <a:spcBef>
                <a:spcPct val="20000"/>
              </a:spcBef>
              <a:buFont typeface="Arial Narrow" pitchFamily="34" charset="0"/>
              <a:buChar char="•"/>
              <a:defRPr sz="2000"/>
            </a:lvl9pPr>
          </a:lstStyle>
          <a:p>
            <a:r>
              <a:rPr lang="en-US" dirty="0">
                <a:sym typeface="Sakkal Majalla" panose="02000000000000000000" pitchFamily="2" charset="-78"/>
              </a:rPr>
              <a:t>Chemicals</a:t>
            </a:r>
            <a:endParaRPr lang="ar" dirty="0">
              <a:sym typeface="Sakkal Majalla" panose="02000000000000000000" pitchFamily="2" charset="-78"/>
            </a:endParaRPr>
          </a:p>
        </p:txBody>
      </p:sp>
      <p:sp>
        <p:nvSpPr>
          <p:cNvPr id="25" name="Rectangle 24">
            <a:extLst>
              <a:ext uri="{FF2B5EF4-FFF2-40B4-BE49-F238E27FC236}">
                <a16:creationId xmlns:a16="http://schemas.microsoft.com/office/drawing/2014/main" id="{8AF4301D-13BB-DE42-85F7-D9248FFA2DD0}"/>
              </a:ext>
            </a:extLst>
          </p:cNvPr>
          <p:cNvSpPr/>
          <p:nvPr/>
        </p:nvSpPr>
        <p:spPr>
          <a:xfrm>
            <a:off x="11411270" y="1054883"/>
            <a:ext cx="340380" cy="659596"/>
          </a:xfrm>
          <a:prstGeom prst="rect">
            <a:avLst/>
          </a:prstGeom>
          <a:solidFill>
            <a:srgbClr val="C6B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rPr>
              <a:t>1</a:t>
            </a:r>
          </a:p>
        </p:txBody>
      </p:sp>
      <p:sp>
        <p:nvSpPr>
          <p:cNvPr id="28" name="Rectangle 27">
            <a:extLst>
              <a:ext uri="{FF2B5EF4-FFF2-40B4-BE49-F238E27FC236}">
                <a16:creationId xmlns:a16="http://schemas.microsoft.com/office/drawing/2014/main" id="{32895A90-A530-F7F3-2E2B-9679EFEA4AE2}"/>
              </a:ext>
            </a:extLst>
          </p:cNvPr>
          <p:cNvSpPr/>
          <p:nvPr/>
        </p:nvSpPr>
        <p:spPr>
          <a:xfrm>
            <a:off x="5603789" y="1031135"/>
            <a:ext cx="340380" cy="659596"/>
          </a:xfrm>
          <a:prstGeom prst="rect">
            <a:avLst/>
          </a:prstGeom>
          <a:solidFill>
            <a:srgbClr val="C6B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rPr>
              <a:t>3</a:t>
            </a:r>
          </a:p>
        </p:txBody>
      </p:sp>
      <p:sp>
        <p:nvSpPr>
          <p:cNvPr id="30" name="Rectangle 29">
            <a:extLst>
              <a:ext uri="{FF2B5EF4-FFF2-40B4-BE49-F238E27FC236}">
                <a16:creationId xmlns:a16="http://schemas.microsoft.com/office/drawing/2014/main" id="{35FE5C3E-F106-EC18-45F1-88C151C500B6}"/>
              </a:ext>
            </a:extLst>
          </p:cNvPr>
          <p:cNvSpPr/>
          <p:nvPr/>
        </p:nvSpPr>
        <p:spPr>
          <a:xfrm>
            <a:off x="470122" y="1009650"/>
            <a:ext cx="2664004" cy="2204600"/>
          </a:xfrm>
          <a:prstGeom prst="rect">
            <a:avLst/>
          </a:prstGeom>
          <a:solidFill>
            <a:srgbClr val="D1CBBF">
              <a:alpha val="2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AE" sz="2000" b="0"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endParaRPr>
          </a:p>
        </p:txBody>
      </p:sp>
      <p:sp>
        <p:nvSpPr>
          <p:cNvPr id="31" name="Rectangle 30">
            <a:extLst>
              <a:ext uri="{FF2B5EF4-FFF2-40B4-BE49-F238E27FC236}">
                <a16:creationId xmlns:a16="http://schemas.microsoft.com/office/drawing/2014/main" id="{6167F506-45B7-F57B-4C85-C4AEC22BB5F1}"/>
              </a:ext>
            </a:extLst>
          </p:cNvPr>
          <p:cNvSpPr/>
          <p:nvPr/>
        </p:nvSpPr>
        <p:spPr>
          <a:xfrm>
            <a:off x="2781072" y="1031290"/>
            <a:ext cx="340380" cy="659596"/>
          </a:xfrm>
          <a:prstGeom prst="rect">
            <a:avLst/>
          </a:prstGeom>
          <a:solidFill>
            <a:srgbClr val="C6B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rPr>
              <a:t>4</a:t>
            </a:r>
          </a:p>
        </p:txBody>
      </p:sp>
      <p:cxnSp>
        <p:nvCxnSpPr>
          <p:cNvPr id="9216" name="Straight Connector 9215">
            <a:extLst>
              <a:ext uri="{FF2B5EF4-FFF2-40B4-BE49-F238E27FC236}">
                <a16:creationId xmlns:a16="http://schemas.microsoft.com/office/drawing/2014/main" id="{DBFEA3A4-5D95-1D57-8366-830EBBC5167E}"/>
              </a:ext>
            </a:extLst>
          </p:cNvPr>
          <p:cNvCxnSpPr/>
          <p:nvPr/>
        </p:nvCxnSpPr>
        <p:spPr>
          <a:xfrm>
            <a:off x="448899" y="1690885"/>
            <a:ext cx="2664004" cy="0"/>
          </a:xfrm>
          <a:prstGeom prst="line">
            <a:avLst/>
          </a:prstGeom>
          <a:ln>
            <a:solidFill>
              <a:srgbClr val="B6AE98"/>
            </a:solidFill>
            <a:tailEnd type="none"/>
          </a:ln>
        </p:spPr>
        <p:style>
          <a:lnRef idx="1">
            <a:schemeClr val="accent1"/>
          </a:lnRef>
          <a:fillRef idx="0">
            <a:schemeClr val="accent1"/>
          </a:fillRef>
          <a:effectRef idx="0">
            <a:schemeClr val="accent1"/>
          </a:effectRef>
          <a:fontRef idx="minor">
            <a:schemeClr val="tx1"/>
          </a:fontRef>
        </p:style>
      </p:cxnSp>
      <p:sp>
        <p:nvSpPr>
          <p:cNvPr id="9220" name="Rectangle 9219">
            <a:extLst>
              <a:ext uri="{FF2B5EF4-FFF2-40B4-BE49-F238E27FC236}">
                <a16:creationId xmlns:a16="http://schemas.microsoft.com/office/drawing/2014/main" id="{98D9CFA0-7B21-65D8-A74C-3671CC02A39B}"/>
              </a:ext>
            </a:extLst>
          </p:cNvPr>
          <p:cNvSpPr/>
          <p:nvPr/>
        </p:nvSpPr>
        <p:spPr>
          <a:xfrm>
            <a:off x="3239861" y="4009660"/>
            <a:ext cx="2664004" cy="2308590"/>
          </a:xfrm>
          <a:prstGeom prst="rect">
            <a:avLst/>
          </a:prstGeom>
          <a:solidFill>
            <a:srgbClr val="D1CBBF">
              <a:alpha val="2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AE" sz="1100" b="0" i="0" u="none" strike="noStrike" kern="1200" cap="none" spc="0" normalizeH="0" baseline="0" noProof="0" dirty="0">
              <a:ln>
                <a:noFill/>
              </a:ln>
              <a:solidFill>
                <a:prstClr val="white"/>
              </a:solidFill>
              <a:effectLst/>
              <a:uLnTx/>
              <a:uFillTx/>
              <a:latin typeface="Calibri Light" panose="020F0302020204030204"/>
              <a:ea typeface="+mn-ea"/>
              <a:cs typeface="Janna LT" panose="01000000000000000000"/>
            </a:endParaRPr>
          </a:p>
        </p:txBody>
      </p:sp>
      <p:sp>
        <p:nvSpPr>
          <p:cNvPr id="9221" name="TextBox 9220">
            <a:extLst>
              <a:ext uri="{FF2B5EF4-FFF2-40B4-BE49-F238E27FC236}">
                <a16:creationId xmlns:a16="http://schemas.microsoft.com/office/drawing/2014/main" id="{2ACC8662-18E9-CB01-16D8-50F8ECB8187A}"/>
              </a:ext>
            </a:extLst>
          </p:cNvPr>
          <p:cNvSpPr txBox="1"/>
          <p:nvPr/>
        </p:nvSpPr>
        <p:spPr>
          <a:xfrm>
            <a:off x="3397387" y="4121121"/>
            <a:ext cx="1979225" cy="498598"/>
          </a:xfrm>
          <a:prstGeom prst="rect">
            <a:avLst/>
          </a:prstGeom>
        </p:spPr>
        <p:txBody>
          <a:bodyPr vert="horz" wrap="square" lIns="0" tIns="0" rIns="0" bIns="0" rtlCol="0">
            <a:spAutoFit/>
          </a:bodyPr>
          <a:lstStyle>
            <a:defPPr>
              <a:defRPr lang="en-US"/>
            </a:defPPr>
            <a:lvl1pPr marR="0" lvl="0" indent="0" rtl="1" fontAlgn="auto">
              <a:lnSpc>
                <a:spcPct val="90000"/>
              </a:lnSpc>
              <a:spcBef>
                <a:spcPts val="0"/>
              </a:spcBef>
              <a:spcAft>
                <a:spcPts val="0"/>
              </a:spcAft>
              <a:buClrTx/>
              <a:buSzTx/>
              <a:buFont typeface="Arial Narrow" pitchFamily="34" charset="0"/>
              <a:buNone/>
              <a:tabLst/>
              <a:defRPr kumimoji="0" b="1" i="0" u="none" strike="noStrike" cap="none" spc="0" normalizeH="0" baseline="0">
                <a:ln>
                  <a:noFill/>
                </a:ln>
                <a:solidFill>
                  <a:srgbClr val="55513F"/>
                </a:solidFill>
                <a:effectLst/>
                <a:uLnTx/>
                <a:uFillTx/>
                <a:latin typeface="Arial" panose="020B0604020202020204" pitchFamily="34" charset="0"/>
                <a:cs typeface="Arial" panose="020B0604020202020204" pitchFamily="34" charset="0"/>
              </a:defRPr>
            </a:lvl1pPr>
            <a:lvl2pPr marL="230400" lvl="1" indent="-230400">
              <a:lnSpc>
                <a:spcPct val="90000"/>
              </a:lnSpc>
              <a:spcBef>
                <a:spcPts val="1200"/>
              </a:spcBef>
              <a:buFont typeface="Arial" panose="020B0604020202020204" pitchFamily="34" charset="0"/>
              <a:buChar char="•"/>
              <a:defRPr b="0">
                <a:latin typeface="ITC Avant Garde Std Md" panose="020B0602020202020204"/>
              </a:defRPr>
            </a:lvl2pPr>
            <a:lvl3pPr marL="482400" lvl="2" indent="-234000">
              <a:lnSpc>
                <a:spcPct val="90000"/>
              </a:lnSpc>
              <a:spcBef>
                <a:spcPts val="400"/>
              </a:spcBef>
              <a:buFont typeface="Arial" panose="020B0604020202020204" pitchFamily="34" charset="0"/>
              <a:buChar char="•"/>
              <a:defRPr b="0">
                <a:latin typeface="ITC Avant Garde Std Md" panose="020B0602020202020204"/>
              </a:defRPr>
            </a:lvl3pPr>
            <a:lvl4pPr marL="698400" lvl="3" indent="-201600">
              <a:lnSpc>
                <a:spcPct val="90000"/>
              </a:lnSpc>
              <a:spcBef>
                <a:spcPts val="200"/>
              </a:spcBef>
              <a:buFont typeface="Arial" panose="020B0604020202020204" pitchFamily="34" charset="0"/>
              <a:buChar char="•"/>
              <a:defRPr b="0">
                <a:latin typeface="ITC Avant Garde Std Md" panose="020B0602020202020204"/>
              </a:defRPr>
            </a:lvl4pPr>
            <a:lvl5pPr marL="698400" indent="0">
              <a:lnSpc>
                <a:spcPct val="93000"/>
              </a:lnSpc>
              <a:spcBef>
                <a:spcPts val="0"/>
              </a:spcBef>
              <a:buFont typeface="Arial Narrow" pitchFamily="34" charset="0"/>
              <a:buNone/>
              <a:defRPr sz="1700">
                <a:latin typeface="Arial Narrow" pitchFamily="34" charset="0"/>
              </a:defRPr>
            </a:lvl5pPr>
            <a:lvl6pPr marL="2514600" indent="-228600">
              <a:spcBef>
                <a:spcPct val="20000"/>
              </a:spcBef>
              <a:buFont typeface="Arial Narrow" pitchFamily="34" charset="0"/>
              <a:buChar char="•"/>
              <a:defRPr sz="2000"/>
            </a:lvl6pPr>
            <a:lvl7pPr marL="2971800" indent="-228600">
              <a:spcBef>
                <a:spcPct val="20000"/>
              </a:spcBef>
              <a:buFont typeface="Arial Narrow" pitchFamily="34" charset="0"/>
              <a:buChar char="•"/>
              <a:defRPr sz="2000"/>
            </a:lvl7pPr>
            <a:lvl8pPr marL="3429000" indent="-228600">
              <a:spcBef>
                <a:spcPct val="20000"/>
              </a:spcBef>
              <a:buFont typeface="Arial Narrow" pitchFamily="34" charset="0"/>
              <a:buChar char="•"/>
              <a:defRPr sz="2000"/>
            </a:lvl8pPr>
            <a:lvl9pPr marL="3886200" indent="-228600">
              <a:spcBef>
                <a:spcPct val="20000"/>
              </a:spcBef>
              <a:buFont typeface="Arial Narrow" pitchFamily="34" charset="0"/>
              <a:buChar char="•"/>
              <a:defRPr sz="2000"/>
            </a:lvl9pPr>
          </a:lstStyle>
          <a:p>
            <a:r>
              <a:rPr lang="en-US" dirty="0">
                <a:sym typeface="Sakkal Majalla" panose="02000000000000000000" pitchFamily="2" charset="-78"/>
              </a:rPr>
              <a:t>Renewable and clean energy</a:t>
            </a:r>
            <a:endParaRPr lang="ar" dirty="0">
              <a:sym typeface="Sakkal Majalla" panose="02000000000000000000" pitchFamily="2" charset="-78"/>
            </a:endParaRPr>
          </a:p>
        </p:txBody>
      </p:sp>
      <p:sp>
        <p:nvSpPr>
          <p:cNvPr id="9222" name="Rectangle 9221">
            <a:extLst>
              <a:ext uri="{FF2B5EF4-FFF2-40B4-BE49-F238E27FC236}">
                <a16:creationId xmlns:a16="http://schemas.microsoft.com/office/drawing/2014/main" id="{A17F5EF9-3099-1E23-770B-92BEFBE138E8}"/>
              </a:ext>
            </a:extLst>
          </p:cNvPr>
          <p:cNvSpPr/>
          <p:nvPr/>
        </p:nvSpPr>
        <p:spPr>
          <a:xfrm>
            <a:off x="5548811" y="4011812"/>
            <a:ext cx="340380" cy="659596"/>
          </a:xfrm>
          <a:prstGeom prst="rect">
            <a:avLst/>
          </a:prstGeom>
          <a:solidFill>
            <a:srgbClr val="C6B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rPr>
              <a:t>7</a:t>
            </a:r>
          </a:p>
        </p:txBody>
      </p:sp>
      <p:cxnSp>
        <p:nvCxnSpPr>
          <p:cNvPr id="9223" name="Straight Connector 9222">
            <a:extLst>
              <a:ext uri="{FF2B5EF4-FFF2-40B4-BE49-F238E27FC236}">
                <a16:creationId xmlns:a16="http://schemas.microsoft.com/office/drawing/2014/main" id="{11D298E3-1B40-6B0D-A6C9-30A4D625AC65}"/>
              </a:ext>
            </a:extLst>
          </p:cNvPr>
          <p:cNvCxnSpPr/>
          <p:nvPr/>
        </p:nvCxnSpPr>
        <p:spPr>
          <a:xfrm>
            <a:off x="3239861" y="4671407"/>
            <a:ext cx="2664004" cy="0"/>
          </a:xfrm>
          <a:prstGeom prst="line">
            <a:avLst/>
          </a:prstGeom>
          <a:ln>
            <a:solidFill>
              <a:srgbClr val="B6AE98"/>
            </a:solidFill>
            <a:tailEnd type="none"/>
          </a:ln>
        </p:spPr>
        <p:style>
          <a:lnRef idx="1">
            <a:schemeClr val="accent1"/>
          </a:lnRef>
          <a:fillRef idx="0">
            <a:schemeClr val="accent1"/>
          </a:fillRef>
          <a:effectRef idx="0">
            <a:schemeClr val="accent1"/>
          </a:effectRef>
          <a:fontRef idx="minor">
            <a:schemeClr val="tx1"/>
          </a:fontRef>
        </p:style>
      </p:cxnSp>
      <p:sp>
        <p:nvSpPr>
          <p:cNvPr id="9225" name="TextBox 9224">
            <a:extLst>
              <a:ext uri="{FF2B5EF4-FFF2-40B4-BE49-F238E27FC236}">
                <a16:creationId xmlns:a16="http://schemas.microsoft.com/office/drawing/2014/main" id="{D0AFE8E7-3A63-8CE4-C107-31145F8EBA3F}"/>
              </a:ext>
            </a:extLst>
          </p:cNvPr>
          <p:cNvSpPr txBox="1"/>
          <p:nvPr/>
        </p:nvSpPr>
        <p:spPr>
          <a:xfrm>
            <a:off x="471786" y="1262632"/>
            <a:ext cx="2115412" cy="249299"/>
          </a:xfrm>
          <a:prstGeom prst="rect">
            <a:avLst/>
          </a:prstGeom>
        </p:spPr>
        <p:txBody>
          <a:bodyPr vert="horz" wrap="square" lIns="0" tIns="0" rIns="0" bIns="0" rtlCol="0">
            <a:spAutoFit/>
          </a:bodyPr>
          <a:lstStyle>
            <a:defPPr>
              <a:defRPr lang="en-US"/>
            </a:defPPr>
            <a:lvl1pPr marR="0" lvl="0" indent="0" algn="ctr" rtl="1" fontAlgn="auto">
              <a:lnSpc>
                <a:spcPct val="90000"/>
              </a:lnSpc>
              <a:spcBef>
                <a:spcPts val="0"/>
              </a:spcBef>
              <a:spcAft>
                <a:spcPts val="0"/>
              </a:spcAft>
              <a:buClrTx/>
              <a:buSzTx/>
              <a:buFont typeface="Arial Narrow" pitchFamily="34" charset="0"/>
              <a:buNone/>
              <a:tabLst/>
              <a:defRPr kumimoji="0" b="1" i="0" u="none" strike="noStrike" cap="none" spc="0" normalizeH="0" baseline="0">
                <a:ln>
                  <a:noFill/>
                </a:ln>
                <a:solidFill>
                  <a:srgbClr val="55513F"/>
                </a:solidFill>
                <a:effectLst/>
                <a:uLnTx/>
                <a:uFillTx/>
                <a:latin typeface="+mj-lt"/>
                <a:cs typeface="Sakkal Majalla" panose="02000000000000000000" pitchFamily="2" charset="-78"/>
              </a:defRPr>
            </a:lvl1pPr>
            <a:lvl2pPr marL="230400" lvl="1" indent="-230400">
              <a:lnSpc>
                <a:spcPct val="90000"/>
              </a:lnSpc>
              <a:spcBef>
                <a:spcPts val="1200"/>
              </a:spcBef>
              <a:buFont typeface="Arial" panose="020B0604020202020204" pitchFamily="34" charset="0"/>
              <a:buChar char="•"/>
              <a:defRPr b="0">
                <a:latin typeface="ITC Avant Garde Std Md" panose="020B0602020202020204"/>
              </a:defRPr>
            </a:lvl2pPr>
            <a:lvl3pPr marL="482400" lvl="2" indent="-234000">
              <a:lnSpc>
                <a:spcPct val="90000"/>
              </a:lnSpc>
              <a:spcBef>
                <a:spcPts val="400"/>
              </a:spcBef>
              <a:buFont typeface="Arial" panose="020B0604020202020204" pitchFamily="34" charset="0"/>
              <a:buChar char="•"/>
              <a:defRPr b="0">
                <a:latin typeface="ITC Avant Garde Std Md" panose="020B0602020202020204"/>
              </a:defRPr>
            </a:lvl3pPr>
            <a:lvl4pPr marL="698400" lvl="3" indent="-201600">
              <a:lnSpc>
                <a:spcPct val="90000"/>
              </a:lnSpc>
              <a:spcBef>
                <a:spcPts val="200"/>
              </a:spcBef>
              <a:buFont typeface="Arial" panose="020B0604020202020204" pitchFamily="34" charset="0"/>
              <a:buChar char="•"/>
              <a:defRPr b="0">
                <a:latin typeface="ITC Avant Garde Std Md" panose="020B0602020202020204"/>
              </a:defRPr>
            </a:lvl4pPr>
            <a:lvl5pPr marL="698400" indent="0">
              <a:lnSpc>
                <a:spcPct val="93000"/>
              </a:lnSpc>
              <a:spcBef>
                <a:spcPts val="0"/>
              </a:spcBef>
              <a:buFont typeface="Arial Narrow" pitchFamily="34" charset="0"/>
              <a:buNone/>
              <a:defRPr sz="1700">
                <a:latin typeface="Arial Narrow" pitchFamily="34" charset="0"/>
              </a:defRPr>
            </a:lvl5pPr>
            <a:lvl6pPr marL="2514600" indent="-228600">
              <a:spcBef>
                <a:spcPct val="20000"/>
              </a:spcBef>
              <a:buFont typeface="Arial Narrow" pitchFamily="34" charset="0"/>
              <a:buChar char="•"/>
              <a:defRPr sz="2000"/>
            </a:lvl6pPr>
            <a:lvl7pPr marL="2971800" indent="-228600">
              <a:spcBef>
                <a:spcPct val="20000"/>
              </a:spcBef>
              <a:buFont typeface="Arial Narrow" pitchFamily="34" charset="0"/>
              <a:buChar char="•"/>
              <a:defRPr sz="2000"/>
            </a:lvl7pPr>
            <a:lvl8pPr marL="3429000" indent="-228600">
              <a:spcBef>
                <a:spcPct val="20000"/>
              </a:spcBef>
              <a:buFont typeface="Arial Narrow" pitchFamily="34" charset="0"/>
              <a:buChar char="•"/>
              <a:defRPr sz="2000"/>
            </a:lvl8pPr>
            <a:lvl9pPr marL="3886200" indent="-228600">
              <a:spcBef>
                <a:spcPct val="20000"/>
              </a:spcBef>
              <a:buFont typeface="Arial Narrow" pitchFamily="34" charset="0"/>
              <a:buChar char="•"/>
              <a:defRPr sz="2000"/>
            </a:lvl9pPr>
          </a:lstStyle>
          <a:p>
            <a:pPr marL="0" marR="0" lvl="0" indent="0" algn="l" defTabSz="914400" rtl="1" eaLnBrk="1" fontAlgn="auto" latinLnBrk="0" hangingPunct="1">
              <a:lnSpc>
                <a:spcPct val="90000"/>
              </a:lnSpc>
              <a:spcBef>
                <a:spcPts val="0"/>
              </a:spcBef>
              <a:spcAft>
                <a:spcPts val="0"/>
              </a:spcAft>
              <a:buClrTx/>
              <a:buSzTx/>
              <a:buFont typeface="Arial Narrow" pitchFamily="34" charset="0"/>
              <a:buNone/>
              <a:tabLst/>
              <a:defRPr/>
            </a:pPr>
            <a:r>
              <a:rPr kumimoji="0" lang="en-US" sz="1800" b="1" i="0" u="none" strike="noStrike" kern="1200" cap="none" spc="0" normalizeH="0" baseline="0" noProof="0" dirty="0">
                <a:ln>
                  <a:noFill/>
                </a:ln>
                <a:solidFill>
                  <a:srgbClr val="55513F"/>
                </a:solidFill>
                <a:effectLst/>
                <a:uLnTx/>
                <a:uFillTx/>
                <a:latin typeface="Arial" panose="020B0604020202020204" pitchFamily="34" charset="0"/>
                <a:cs typeface="Arial" panose="020B0604020202020204" pitchFamily="34" charset="0"/>
                <a:sym typeface="Sakkal Majalla" panose="02000000000000000000" pitchFamily="2" charset="-78"/>
              </a:rPr>
              <a:t>Pharmaceuticals</a:t>
            </a:r>
            <a:endParaRPr kumimoji="0" lang="ar" sz="1800" b="1" i="0" u="none" strike="noStrike" kern="1200" cap="none" spc="0" normalizeH="0" baseline="0" noProof="0" dirty="0">
              <a:ln>
                <a:noFill/>
              </a:ln>
              <a:solidFill>
                <a:srgbClr val="55513F"/>
              </a:solidFill>
              <a:effectLst/>
              <a:uLnTx/>
              <a:uFillTx/>
              <a:latin typeface="Arial" panose="020B0604020202020204" pitchFamily="34" charset="0"/>
              <a:cs typeface="Arial" panose="020B0604020202020204" pitchFamily="34" charset="0"/>
              <a:sym typeface="Sakkal Majalla" panose="02000000000000000000" pitchFamily="2" charset="-78"/>
            </a:endParaRPr>
          </a:p>
        </p:txBody>
      </p:sp>
      <p:sp>
        <p:nvSpPr>
          <p:cNvPr id="9227" name="TextBox 9226">
            <a:extLst>
              <a:ext uri="{FF2B5EF4-FFF2-40B4-BE49-F238E27FC236}">
                <a16:creationId xmlns:a16="http://schemas.microsoft.com/office/drawing/2014/main" id="{37CDD0BE-186B-A412-2DE6-C294DB03AE29}"/>
              </a:ext>
            </a:extLst>
          </p:cNvPr>
          <p:cNvSpPr txBox="1"/>
          <p:nvPr/>
        </p:nvSpPr>
        <p:spPr>
          <a:xfrm>
            <a:off x="9087646" y="1751505"/>
            <a:ext cx="2655455" cy="1615827"/>
          </a:xfrm>
          <a:prstGeom prst="rect">
            <a:avLst/>
          </a:prstGeom>
          <a:noFill/>
        </p:spPr>
        <p:txBody>
          <a:bodyPr wrap="square">
            <a:spAutoFit/>
          </a:bodyPr>
          <a:lstStyle>
            <a:defPPr>
              <a:defRPr lang="en-US"/>
            </a:defPPr>
            <a:lvl1pPr marL="285750" marR="0" lvl="0" indent="-285750" fontAlgn="auto">
              <a:lnSpc>
                <a:spcPct val="100000"/>
              </a:lnSpc>
              <a:spcBef>
                <a:spcPts val="0"/>
              </a:spcBef>
              <a:spcAft>
                <a:spcPts val="0"/>
              </a:spcAft>
              <a:buClrTx/>
              <a:buSzTx/>
              <a:buFont typeface="Arial" panose="020B0604020202020204" pitchFamily="34" charset="0"/>
              <a:buChar char="•"/>
              <a:tabLst/>
              <a:defRPr kumimoji="0" sz="1200" b="1" i="0" u="none" strike="noStrike" cap="none" spc="0" normalizeH="0" baseline="0">
                <a:ln>
                  <a:noFill/>
                </a:ln>
                <a:solidFill>
                  <a:srgbClr val="817A6C"/>
                </a:solidFill>
                <a:effectLst/>
                <a:uLnTx/>
                <a:uFillTx/>
                <a:latin typeface="Arial" panose="020B0604020202020204" pitchFamily="34" charset="0"/>
                <a:cs typeface="Arial" panose="020B0604020202020204" pitchFamily="34" charset="0"/>
              </a:defRPr>
            </a:lvl1pPr>
          </a:lstStyle>
          <a:p>
            <a:r>
              <a:rPr lang="en-US" dirty="0"/>
              <a:t>Soda ash</a:t>
            </a:r>
          </a:p>
          <a:p>
            <a:r>
              <a:rPr lang="en-US" dirty="0"/>
              <a:t>Basic chemicals (PP, PE, PU, etc.)</a:t>
            </a:r>
          </a:p>
          <a:p>
            <a:r>
              <a:rPr lang="en-US" dirty="0"/>
              <a:t>Packaging and plastic products</a:t>
            </a:r>
          </a:p>
          <a:p>
            <a:r>
              <a:rPr lang="en-US" dirty="0"/>
              <a:t>Construction sector chemicals</a:t>
            </a:r>
            <a:endParaRPr lang="en-AE" dirty="0"/>
          </a:p>
        </p:txBody>
      </p:sp>
      <p:sp>
        <p:nvSpPr>
          <p:cNvPr id="9229" name="TextBox 9228">
            <a:extLst>
              <a:ext uri="{FF2B5EF4-FFF2-40B4-BE49-F238E27FC236}">
                <a16:creationId xmlns:a16="http://schemas.microsoft.com/office/drawing/2014/main" id="{DD367805-E71A-8967-94E2-76E67B084ADB}"/>
              </a:ext>
            </a:extLst>
          </p:cNvPr>
          <p:cNvSpPr txBox="1"/>
          <p:nvPr/>
        </p:nvSpPr>
        <p:spPr>
          <a:xfrm>
            <a:off x="6077518" y="1729525"/>
            <a:ext cx="2655455" cy="1431161"/>
          </a:xfrm>
          <a:prstGeom prst="rect">
            <a:avLst/>
          </a:prstGeom>
          <a:noFill/>
        </p:spPr>
        <p:txBody>
          <a:bodyPr wrap="square">
            <a:spAutoFit/>
          </a:bodyPr>
          <a:lstStyle>
            <a:defPPr>
              <a:defRPr lang="en-US"/>
            </a:defPPr>
            <a:lvl1pPr marL="285750" marR="0" lvl="0" indent="-285750" fontAlgn="auto">
              <a:lnSpc>
                <a:spcPct val="100000"/>
              </a:lnSpc>
              <a:spcBef>
                <a:spcPts val="0"/>
              </a:spcBef>
              <a:spcAft>
                <a:spcPts val="0"/>
              </a:spcAft>
              <a:buClrTx/>
              <a:buSzTx/>
              <a:buFont typeface="Arial" panose="020B0604020202020204" pitchFamily="34" charset="0"/>
              <a:buChar char="•"/>
              <a:tabLst/>
              <a:defRPr kumimoji="0" sz="1200" b="1" i="0" u="none" strike="noStrike" cap="none" spc="0" normalizeH="0" baseline="0">
                <a:ln>
                  <a:noFill/>
                </a:ln>
                <a:solidFill>
                  <a:srgbClr val="817A6C"/>
                </a:solidFill>
                <a:effectLst/>
                <a:uLnTx/>
                <a:uFillTx/>
                <a:latin typeface="Arial" panose="020B0604020202020204" pitchFamily="34" charset="0"/>
                <a:cs typeface="Arial" panose="020B0604020202020204" pitchFamily="34" charset="0"/>
              </a:defRPr>
            </a:lvl1pPr>
          </a:lstStyle>
          <a:p>
            <a:r>
              <a:rPr lang="en-US" altLang="en-US" dirty="0"/>
              <a:t>Cereals, meat, dairy products, and canned food</a:t>
            </a:r>
          </a:p>
          <a:p>
            <a:r>
              <a:rPr lang="en-US" altLang="en-US" dirty="0"/>
              <a:t>Fertilizers</a:t>
            </a:r>
          </a:p>
          <a:p>
            <a:r>
              <a:rPr lang="en-US" altLang="en-US" dirty="0"/>
              <a:t>Nutritional supplements</a:t>
            </a:r>
          </a:p>
          <a:p>
            <a:r>
              <a:rPr lang="en-US" altLang="en-US" dirty="0"/>
              <a:t>Agricultural technology and sustainable farming methods</a:t>
            </a:r>
          </a:p>
        </p:txBody>
      </p:sp>
      <p:sp>
        <p:nvSpPr>
          <p:cNvPr id="9233" name="TextBox 9232">
            <a:extLst>
              <a:ext uri="{FF2B5EF4-FFF2-40B4-BE49-F238E27FC236}">
                <a16:creationId xmlns:a16="http://schemas.microsoft.com/office/drawing/2014/main" id="{A3DDE4C9-E526-F758-576E-DF6776717BF8}"/>
              </a:ext>
            </a:extLst>
          </p:cNvPr>
          <p:cNvSpPr txBox="1"/>
          <p:nvPr/>
        </p:nvSpPr>
        <p:spPr>
          <a:xfrm>
            <a:off x="3227554" y="1768426"/>
            <a:ext cx="2655455" cy="1431161"/>
          </a:xfrm>
          <a:prstGeom prst="rect">
            <a:avLst/>
          </a:prstGeom>
          <a:noFill/>
        </p:spPr>
        <p:txBody>
          <a:bodyPr wrap="square">
            <a:spAutoFit/>
          </a:bodyPr>
          <a:lstStyle>
            <a:defPPr>
              <a:defRPr lang="en-US"/>
            </a:defPPr>
            <a:lvl1pPr marL="285750" marR="0" lvl="0" indent="-285750" fontAlgn="auto">
              <a:lnSpc>
                <a:spcPct val="100000"/>
              </a:lnSpc>
              <a:spcBef>
                <a:spcPts val="0"/>
              </a:spcBef>
              <a:spcAft>
                <a:spcPts val="0"/>
              </a:spcAft>
              <a:buClrTx/>
              <a:buSzTx/>
              <a:buFont typeface="Arial" panose="020B0604020202020204" pitchFamily="34" charset="0"/>
              <a:buChar char="•"/>
              <a:tabLst/>
              <a:defRPr kumimoji="0" sz="1200" b="1" i="0" u="none" strike="noStrike" cap="none" spc="0" normalizeH="0" baseline="0">
                <a:ln>
                  <a:noFill/>
                </a:ln>
                <a:solidFill>
                  <a:srgbClr val="817A6C"/>
                </a:solidFill>
                <a:effectLst/>
                <a:uLnTx/>
                <a:uFillTx/>
                <a:latin typeface="Arial" panose="020B0604020202020204" pitchFamily="34" charset="0"/>
                <a:cs typeface="Arial" panose="020B0604020202020204" pitchFamily="34" charset="0"/>
              </a:defRPr>
            </a:lvl1pPr>
          </a:lstStyle>
          <a:p>
            <a:r>
              <a:rPr lang="en-US" altLang="en-US" dirty="0"/>
              <a:t>Silica production for glass</a:t>
            </a:r>
          </a:p>
          <a:p>
            <a:r>
              <a:rPr lang="en-US" altLang="en-US" dirty="0"/>
              <a:t>Aluminum, copper, and iron products</a:t>
            </a:r>
          </a:p>
          <a:p>
            <a:r>
              <a:rPr lang="en-US" altLang="en-US" dirty="0"/>
              <a:t>Glass</a:t>
            </a:r>
          </a:p>
          <a:p>
            <a:r>
              <a:rPr lang="en-US" altLang="en-US" dirty="0"/>
              <a:t>Raw material supply for securing supply chains</a:t>
            </a:r>
          </a:p>
        </p:txBody>
      </p:sp>
      <p:sp>
        <p:nvSpPr>
          <p:cNvPr id="9234" name="TextBox 9233">
            <a:extLst>
              <a:ext uri="{FF2B5EF4-FFF2-40B4-BE49-F238E27FC236}">
                <a16:creationId xmlns:a16="http://schemas.microsoft.com/office/drawing/2014/main" id="{74293672-8168-F8AE-72D9-A78EE71D16AE}"/>
              </a:ext>
            </a:extLst>
          </p:cNvPr>
          <p:cNvSpPr txBox="1"/>
          <p:nvPr/>
        </p:nvSpPr>
        <p:spPr>
          <a:xfrm>
            <a:off x="382404" y="1683359"/>
            <a:ext cx="2738761" cy="1569660"/>
          </a:xfrm>
          <a:prstGeom prst="rect">
            <a:avLst/>
          </a:prstGeom>
          <a:noFill/>
        </p:spPr>
        <p:txBody>
          <a:bodyPr wrap="square">
            <a:spAutoFit/>
          </a:bodyPr>
          <a:lstStyle>
            <a:defPPr>
              <a:defRPr lang="en-US"/>
            </a:defPPr>
            <a:lvl1pPr marL="285750" indent="-285750" algn="r" rtl="1">
              <a:spcBef>
                <a:spcPts val="300"/>
              </a:spcBef>
              <a:spcAft>
                <a:spcPts val="300"/>
              </a:spcAft>
              <a:buFont typeface="Arial" panose="020B0604020202020204" pitchFamily="34" charset="0"/>
              <a:buChar char="•"/>
              <a:defRPr>
                <a:latin typeface="+mj-lt"/>
              </a:defRPr>
            </a:lvl1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rPr>
              <a:t>Gener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rPr>
              <a:t>Biosimila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rPr>
              <a:t>Active Pharmaceutical Ingredients (AP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rPr>
              <a:t>Medical Suppl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rPr>
              <a:t>Ophthalmic Drug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rPr>
              <a:t>Vitamins and Dietary Supplements</a:t>
            </a:r>
            <a:endParaRPr kumimoji="0" lang="ar-AE" altLang="en-US" sz="12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endParaRPr>
          </a:p>
        </p:txBody>
      </p:sp>
      <p:sp>
        <p:nvSpPr>
          <p:cNvPr id="9235" name="TextBox 9234">
            <a:extLst>
              <a:ext uri="{FF2B5EF4-FFF2-40B4-BE49-F238E27FC236}">
                <a16:creationId xmlns:a16="http://schemas.microsoft.com/office/drawing/2014/main" id="{A5F70338-4129-6CB7-8221-31FD854FD2FB}"/>
              </a:ext>
            </a:extLst>
          </p:cNvPr>
          <p:cNvSpPr txBox="1"/>
          <p:nvPr/>
        </p:nvSpPr>
        <p:spPr>
          <a:xfrm>
            <a:off x="9079097" y="4782869"/>
            <a:ext cx="2655455" cy="538609"/>
          </a:xfrm>
          <a:prstGeom prst="rect">
            <a:avLst/>
          </a:prstGeom>
          <a:noFill/>
        </p:spPr>
        <p:txBody>
          <a:bodyPr wrap="square">
            <a:spAutoFit/>
          </a:bodyPr>
          <a:lstStyle>
            <a:defPPr>
              <a:defRPr lang="en-US"/>
            </a:defPPr>
            <a:lvl1pPr marL="285750" marR="0" lvl="0" indent="-285750" fontAlgn="auto">
              <a:lnSpc>
                <a:spcPct val="100000"/>
              </a:lnSpc>
              <a:spcBef>
                <a:spcPts val="0"/>
              </a:spcBef>
              <a:spcAft>
                <a:spcPts val="0"/>
              </a:spcAft>
              <a:buClrTx/>
              <a:buSzTx/>
              <a:buFont typeface="Arial" panose="020B0604020202020204" pitchFamily="34" charset="0"/>
              <a:buChar char="•"/>
              <a:tabLst/>
              <a:defRPr kumimoji="0" sz="1200" b="1" i="0" u="none" strike="noStrike" cap="none" spc="0" normalizeH="0" baseline="0">
                <a:ln>
                  <a:noFill/>
                </a:ln>
                <a:solidFill>
                  <a:srgbClr val="817A6C"/>
                </a:solidFill>
                <a:effectLst/>
                <a:uLnTx/>
                <a:uFillTx/>
                <a:latin typeface="Arial" panose="020B0604020202020204" pitchFamily="34" charset="0"/>
                <a:cs typeface="Arial" panose="020B0604020202020204" pitchFamily="34" charset="0"/>
              </a:defRPr>
            </a:lvl1pPr>
          </a:lstStyle>
          <a:p>
            <a:r>
              <a:rPr lang="en-US" dirty="0"/>
              <a:t>Textile production</a:t>
            </a:r>
          </a:p>
          <a:p>
            <a:r>
              <a:rPr lang="en-US" dirty="0"/>
              <a:t>Polyester</a:t>
            </a:r>
            <a:endParaRPr lang="en-AE" dirty="0"/>
          </a:p>
        </p:txBody>
      </p:sp>
      <p:sp>
        <p:nvSpPr>
          <p:cNvPr id="9236" name="TextBox 9235">
            <a:extLst>
              <a:ext uri="{FF2B5EF4-FFF2-40B4-BE49-F238E27FC236}">
                <a16:creationId xmlns:a16="http://schemas.microsoft.com/office/drawing/2014/main" id="{7D1306DE-0671-80F5-D663-C86EB065C54B}"/>
              </a:ext>
            </a:extLst>
          </p:cNvPr>
          <p:cNvSpPr txBox="1"/>
          <p:nvPr/>
        </p:nvSpPr>
        <p:spPr>
          <a:xfrm>
            <a:off x="6139221" y="4782869"/>
            <a:ext cx="2655455" cy="1538883"/>
          </a:xfrm>
          <a:prstGeom prst="rect">
            <a:avLst/>
          </a:prstGeom>
          <a:noFill/>
        </p:spPr>
        <p:txBody>
          <a:bodyPr wrap="square">
            <a:spAutoFit/>
          </a:bodyPr>
          <a:lstStyle>
            <a:defPPr>
              <a:defRPr lang="en-US"/>
            </a:defPPr>
            <a:lvl1pPr marL="285750" marR="0" lvl="0" indent="-285750" fontAlgn="auto">
              <a:lnSpc>
                <a:spcPct val="100000"/>
              </a:lnSpc>
              <a:spcBef>
                <a:spcPts val="0"/>
              </a:spcBef>
              <a:spcAft>
                <a:spcPts val="0"/>
              </a:spcAft>
              <a:buClrTx/>
              <a:buSzTx/>
              <a:buFont typeface="Arial" panose="020B0604020202020204" pitchFamily="34" charset="0"/>
              <a:buChar char="•"/>
              <a:tabLst/>
              <a:defRPr kumimoji="0" sz="1200" b="1" i="0" u="none" strike="noStrike" cap="none" spc="0" normalizeH="0" baseline="0">
                <a:ln>
                  <a:noFill/>
                </a:ln>
                <a:solidFill>
                  <a:srgbClr val="817A6C"/>
                </a:solidFill>
                <a:effectLst/>
                <a:uLnTx/>
                <a:uFillTx/>
                <a:latin typeface="Arial" panose="020B0604020202020204" pitchFamily="34" charset="0"/>
                <a:cs typeface="Arial" panose="020B0604020202020204" pitchFamily="34" charset="0"/>
              </a:defRPr>
            </a:lvl1pPr>
          </a:lstStyle>
          <a:p>
            <a:r>
              <a:rPr lang="en-US" dirty="0"/>
              <a:t>Vehicle components (seats, exhaust systems, air conditioning, electrical connections, tires, glass, batteries)</a:t>
            </a:r>
          </a:p>
          <a:p>
            <a:r>
              <a:rPr lang="en-US" dirty="0"/>
              <a:t>Structural aluminum parts</a:t>
            </a:r>
          </a:p>
          <a:p>
            <a:r>
              <a:rPr lang="en-US" dirty="0"/>
              <a:t>Electric vehicle assembly</a:t>
            </a:r>
            <a:endParaRPr lang="en-AE" dirty="0"/>
          </a:p>
        </p:txBody>
      </p:sp>
      <p:sp>
        <p:nvSpPr>
          <p:cNvPr id="9237" name="TextBox 9236">
            <a:extLst>
              <a:ext uri="{FF2B5EF4-FFF2-40B4-BE49-F238E27FC236}">
                <a16:creationId xmlns:a16="http://schemas.microsoft.com/office/drawing/2014/main" id="{F3BA0E8D-E1A9-1D34-3C35-73A201BB8204}"/>
              </a:ext>
            </a:extLst>
          </p:cNvPr>
          <p:cNvSpPr txBox="1"/>
          <p:nvPr/>
        </p:nvSpPr>
        <p:spPr>
          <a:xfrm>
            <a:off x="3258843" y="4782869"/>
            <a:ext cx="2655455" cy="1615827"/>
          </a:xfrm>
          <a:prstGeom prst="rect">
            <a:avLst/>
          </a:prstGeom>
          <a:noFill/>
        </p:spPr>
        <p:txBody>
          <a:bodyPr wrap="square">
            <a:spAutoFit/>
          </a:bodyPr>
          <a:lstStyle>
            <a:defPPr>
              <a:defRPr lang="en-US"/>
            </a:defPPr>
            <a:lvl1pPr marL="285750" marR="0" lvl="0" indent="-285750" fontAlgn="auto">
              <a:lnSpc>
                <a:spcPct val="100000"/>
              </a:lnSpc>
              <a:spcBef>
                <a:spcPts val="0"/>
              </a:spcBef>
              <a:spcAft>
                <a:spcPts val="0"/>
              </a:spcAft>
              <a:buClrTx/>
              <a:buSzTx/>
              <a:buFont typeface="Arial" panose="020B0604020202020204" pitchFamily="34" charset="0"/>
              <a:buChar char="•"/>
              <a:tabLst/>
              <a:defRPr kumimoji="0" sz="1200" b="1" i="0" u="none" strike="noStrike" cap="none" spc="0" normalizeH="0" baseline="0">
                <a:ln>
                  <a:noFill/>
                </a:ln>
                <a:solidFill>
                  <a:srgbClr val="817A6C"/>
                </a:solidFill>
                <a:effectLst/>
                <a:uLnTx/>
                <a:uFillTx/>
                <a:latin typeface="Arial" panose="020B0604020202020204" pitchFamily="34" charset="0"/>
                <a:cs typeface="Arial" panose="020B0604020202020204" pitchFamily="34" charset="0"/>
              </a:defRPr>
            </a:lvl1pPr>
          </a:lstStyle>
          <a:p>
            <a:r>
              <a:rPr lang="en-US" dirty="0"/>
              <a:t>Solar power units</a:t>
            </a:r>
          </a:p>
          <a:p>
            <a:r>
              <a:rPr lang="en-US" dirty="0"/>
              <a:t>Solar cells</a:t>
            </a:r>
          </a:p>
          <a:p>
            <a:r>
              <a:rPr lang="en-US" dirty="0"/>
              <a:t>Energy storage batteries</a:t>
            </a:r>
          </a:p>
          <a:p>
            <a:r>
              <a:rPr lang="en-US" dirty="0"/>
              <a:t>Inverter assembly and production of solar power system equipment and components</a:t>
            </a:r>
            <a:endParaRPr lang="en-AE" dirty="0"/>
          </a:p>
        </p:txBody>
      </p:sp>
      <p:sp>
        <p:nvSpPr>
          <p:cNvPr id="9413" name="Rectangle 9412">
            <a:extLst>
              <a:ext uri="{FF2B5EF4-FFF2-40B4-BE49-F238E27FC236}">
                <a16:creationId xmlns:a16="http://schemas.microsoft.com/office/drawing/2014/main" id="{6C08C93A-FDC4-69FA-952E-795D88C829B2}"/>
              </a:ext>
            </a:extLst>
          </p:cNvPr>
          <p:cNvSpPr/>
          <p:nvPr/>
        </p:nvSpPr>
        <p:spPr>
          <a:xfrm>
            <a:off x="468457" y="4002216"/>
            <a:ext cx="2664004" cy="2308589"/>
          </a:xfrm>
          <a:prstGeom prst="rect">
            <a:avLst/>
          </a:prstGeom>
          <a:solidFill>
            <a:srgbClr val="D1CBBF">
              <a:alpha val="2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AE" sz="2000" b="0"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endParaRPr>
          </a:p>
        </p:txBody>
      </p:sp>
      <p:sp>
        <p:nvSpPr>
          <p:cNvPr id="9414" name="Rectangle 9413">
            <a:extLst>
              <a:ext uri="{FF2B5EF4-FFF2-40B4-BE49-F238E27FC236}">
                <a16:creationId xmlns:a16="http://schemas.microsoft.com/office/drawing/2014/main" id="{155DB704-862B-4DDC-1DF3-6D509406483D}"/>
              </a:ext>
            </a:extLst>
          </p:cNvPr>
          <p:cNvSpPr/>
          <p:nvPr/>
        </p:nvSpPr>
        <p:spPr>
          <a:xfrm>
            <a:off x="2779407" y="4023857"/>
            <a:ext cx="340380" cy="659596"/>
          </a:xfrm>
          <a:prstGeom prst="rect">
            <a:avLst/>
          </a:prstGeom>
          <a:solidFill>
            <a:srgbClr val="C6BA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Light" panose="020F0302020204030204"/>
                <a:ea typeface="+mn-ea"/>
                <a:cs typeface="Janna LT" panose="01000000000000000000"/>
              </a:rPr>
              <a:t>4</a:t>
            </a:r>
          </a:p>
        </p:txBody>
      </p:sp>
      <p:cxnSp>
        <p:nvCxnSpPr>
          <p:cNvPr id="9415" name="Straight Connector 9414">
            <a:extLst>
              <a:ext uri="{FF2B5EF4-FFF2-40B4-BE49-F238E27FC236}">
                <a16:creationId xmlns:a16="http://schemas.microsoft.com/office/drawing/2014/main" id="{2BFA575F-8096-8A92-EAA6-8C4D18EF3817}"/>
              </a:ext>
            </a:extLst>
          </p:cNvPr>
          <p:cNvCxnSpPr/>
          <p:nvPr/>
        </p:nvCxnSpPr>
        <p:spPr>
          <a:xfrm>
            <a:off x="447234" y="4683452"/>
            <a:ext cx="2664004" cy="0"/>
          </a:xfrm>
          <a:prstGeom prst="line">
            <a:avLst/>
          </a:prstGeom>
          <a:ln>
            <a:solidFill>
              <a:srgbClr val="B6AE98"/>
            </a:solidFill>
            <a:tailEnd type="none"/>
          </a:ln>
        </p:spPr>
        <p:style>
          <a:lnRef idx="1">
            <a:schemeClr val="accent1"/>
          </a:lnRef>
          <a:fillRef idx="0">
            <a:schemeClr val="accent1"/>
          </a:fillRef>
          <a:effectRef idx="0">
            <a:schemeClr val="accent1"/>
          </a:effectRef>
          <a:fontRef idx="minor">
            <a:schemeClr val="tx1"/>
          </a:fontRef>
        </p:style>
      </p:cxnSp>
      <p:sp>
        <p:nvSpPr>
          <p:cNvPr id="9416" name="TextBox 9415">
            <a:extLst>
              <a:ext uri="{FF2B5EF4-FFF2-40B4-BE49-F238E27FC236}">
                <a16:creationId xmlns:a16="http://schemas.microsoft.com/office/drawing/2014/main" id="{57DA72DB-10EE-A7CB-303D-EF2ABE7A5640}"/>
              </a:ext>
            </a:extLst>
          </p:cNvPr>
          <p:cNvSpPr txBox="1"/>
          <p:nvPr/>
        </p:nvSpPr>
        <p:spPr>
          <a:xfrm>
            <a:off x="465710" y="4926716"/>
            <a:ext cx="2655455" cy="1354217"/>
          </a:xfrm>
          <a:prstGeom prst="rect">
            <a:avLst/>
          </a:prstGeom>
          <a:noFill/>
        </p:spPr>
        <p:txBody>
          <a:bodyPr wrap="square">
            <a:spAutoFit/>
          </a:bodyPr>
          <a:lstStyle>
            <a:defPPr>
              <a:defRPr lang="en-US"/>
            </a:defPPr>
            <a:lvl1pPr marL="285750" marR="0" lvl="0" indent="-285750" fontAlgn="auto">
              <a:lnSpc>
                <a:spcPct val="100000"/>
              </a:lnSpc>
              <a:spcBef>
                <a:spcPts val="0"/>
              </a:spcBef>
              <a:spcAft>
                <a:spcPts val="0"/>
              </a:spcAft>
              <a:buClrTx/>
              <a:buSzTx/>
              <a:buFont typeface="Arial" panose="020B0604020202020204" pitchFamily="34" charset="0"/>
              <a:buChar char="•"/>
              <a:tabLst/>
              <a:defRPr kumimoji="0" sz="1200" b="1" i="0" u="none" strike="noStrike" cap="none" spc="0" normalizeH="0" baseline="0">
                <a:ln>
                  <a:noFill/>
                </a:ln>
                <a:solidFill>
                  <a:srgbClr val="817A6C"/>
                </a:solidFill>
                <a:effectLst/>
                <a:uLnTx/>
                <a:uFillTx/>
                <a:latin typeface="Arial" panose="020B0604020202020204" pitchFamily="34" charset="0"/>
                <a:cs typeface="Arial" panose="020B0604020202020204" pitchFamily="34" charset="0"/>
              </a:defRPr>
            </a:lvl1pPr>
          </a:lstStyle>
          <a:p>
            <a:r>
              <a:rPr lang="en-US" altLang="en-US" dirty="0"/>
              <a:t>Construction and building equipment</a:t>
            </a:r>
          </a:p>
          <a:p>
            <a:r>
              <a:rPr lang="en-US" altLang="en-US" dirty="0"/>
              <a:t>Agricultural equipment and machinery</a:t>
            </a:r>
          </a:p>
          <a:p>
            <a:r>
              <a:rPr lang="en-US" altLang="en-US" dirty="0"/>
              <a:t>Energy equipment and generators</a:t>
            </a:r>
          </a:p>
        </p:txBody>
      </p:sp>
      <p:sp>
        <p:nvSpPr>
          <p:cNvPr id="9438" name="TextBox 9437">
            <a:extLst>
              <a:ext uri="{FF2B5EF4-FFF2-40B4-BE49-F238E27FC236}">
                <a16:creationId xmlns:a16="http://schemas.microsoft.com/office/drawing/2014/main" id="{6833FCF4-0266-C8BA-DA80-0A222A416F9D}"/>
              </a:ext>
            </a:extLst>
          </p:cNvPr>
          <p:cNvSpPr txBox="1"/>
          <p:nvPr/>
        </p:nvSpPr>
        <p:spPr>
          <a:xfrm>
            <a:off x="664147" y="4110916"/>
            <a:ext cx="1979225" cy="249299"/>
          </a:xfrm>
          <a:prstGeom prst="rect">
            <a:avLst/>
          </a:prstGeom>
        </p:spPr>
        <p:txBody>
          <a:bodyPr vert="horz" wrap="square" lIns="0" tIns="0" rIns="0" bIns="0" rtlCol="0">
            <a:spAutoFit/>
          </a:bodyPr>
          <a:lstStyle>
            <a:defPPr>
              <a:defRPr lang="en-US"/>
            </a:defPPr>
            <a:lvl1pPr marR="0" lvl="0" indent="0" rtl="1" fontAlgn="auto">
              <a:lnSpc>
                <a:spcPct val="90000"/>
              </a:lnSpc>
              <a:spcBef>
                <a:spcPts val="0"/>
              </a:spcBef>
              <a:spcAft>
                <a:spcPts val="0"/>
              </a:spcAft>
              <a:buClrTx/>
              <a:buSzTx/>
              <a:buFont typeface="Arial Narrow" pitchFamily="34" charset="0"/>
              <a:buNone/>
              <a:tabLst/>
              <a:defRPr kumimoji="0" b="1" i="0" u="none" strike="noStrike" cap="none" spc="0" normalizeH="0" baseline="0">
                <a:ln>
                  <a:noFill/>
                </a:ln>
                <a:solidFill>
                  <a:srgbClr val="55513F"/>
                </a:solidFill>
                <a:effectLst/>
                <a:uLnTx/>
                <a:uFillTx/>
                <a:latin typeface="Arial" panose="020B0604020202020204" pitchFamily="34" charset="0"/>
                <a:cs typeface="Arial" panose="020B0604020202020204" pitchFamily="34" charset="0"/>
              </a:defRPr>
            </a:lvl1pPr>
            <a:lvl2pPr marL="230400" lvl="1" indent="-230400">
              <a:lnSpc>
                <a:spcPct val="90000"/>
              </a:lnSpc>
              <a:spcBef>
                <a:spcPts val="1200"/>
              </a:spcBef>
              <a:buFont typeface="Arial" panose="020B0604020202020204" pitchFamily="34" charset="0"/>
              <a:buChar char="•"/>
              <a:defRPr b="0">
                <a:latin typeface="ITC Avant Garde Std Md" panose="020B0602020202020204"/>
              </a:defRPr>
            </a:lvl2pPr>
            <a:lvl3pPr marL="482400" lvl="2" indent="-234000">
              <a:lnSpc>
                <a:spcPct val="90000"/>
              </a:lnSpc>
              <a:spcBef>
                <a:spcPts val="400"/>
              </a:spcBef>
              <a:buFont typeface="Arial" panose="020B0604020202020204" pitchFamily="34" charset="0"/>
              <a:buChar char="•"/>
              <a:defRPr b="0">
                <a:latin typeface="ITC Avant Garde Std Md" panose="020B0602020202020204"/>
              </a:defRPr>
            </a:lvl3pPr>
            <a:lvl4pPr marL="698400" lvl="3" indent="-201600">
              <a:lnSpc>
                <a:spcPct val="90000"/>
              </a:lnSpc>
              <a:spcBef>
                <a:spcPts val="200"/>
              </a:spcBef>
              <a:buFont typeface="Arial" panose="020B0604020202020204" pitchFamily="34" charset="0"/>
              <a:buChar char="•"/>
              <a:defRPr b="0">
                <a:latin typeface="ITC Avant Garde Std Md" panose="020B0602020202020204"/>
              </a:defRPr>
            </a:lvl4pPr>
            <a:lvl5pPr marL="698400" indent="0">
              <a:lnSpc>
                <a:spcPct val="93000"/>
              </a:lnSpc>
              <a:spcBef>
                <a:spcPts val="0"/>
              </a:spcBef>
              <a:buFont typeface="Arial Narrow" pitchFamily="34" charset="0"/>
              <a:buNone/>
              <a:defRPr sz="1700">
                <a:latin typeface="Arial Narrow" pitchFamily="34" charset="0"/>
              </a:defRPr>
            </a:lvl5pPr>
            <a:lvl6pPr marL="2514600" indent="-228600">
              <a:spcBef>
                <a:spcPct val="20000"/>
              </a:spcBef>
              <a:buFont typeface="Arial Narrow" pitchFamily="34" charset="0"/>
              <a:buChar char="•"/>
              <a:defRPr sz="2000"/>
            </a:lvl6pPr>
            <a:lvl7pPr marL="2971800" indent="-228600">
              <a:spcBef>
                <a:spcPct val="20000"/>
              </a:spcBef>
              <a:buFont typeface="Arial Narrow" pitchFamily="34" charset="0"/>
              <a:buChar char="•"/>
              <a:defRPr sz="2000"/>
            </a:lvl7pPr>
            <a:lvl8pPr marL="3429000" indent="-228600">
              <a:spcBef>
                <a:spcPct val="20000"/>
              </a:spcBef>
              <a:buFont typeface="Arial Narrow" pitchFamily="34" charset="0"/>
              <a:buChar char="•"/>
              <a:defRPr sz="2000"/>
            </a:lvl8pPr>
            <a:lvl9pPr marL="3886200" indent="-228600">
              <a:spcBef>
                <a:spcPct val="20000"/>
              </a:spcBef>
              <a:buFont typeface="Arial Narrow" pitchFamily="34" charset="0"/>
              <a:buChar char="•"/>
              <a:defRPr sz="2000"/>
            </a:lvl9pPr>
          </a:lstStyle>
          <a:p>
            <a:r>
              <a:rPr lang="en-US" dirty="0">
                <a:sym typeface="Sakkal Majalla" panose="02000000000000000000" pitchFamily="2" charset="-78"/>
              </a:rPr>
              <a:t>Electrical Equipment</a:t>
            </a:r>
            <a:endParaRPr lang="ar" dirty="0">
              <a:sym typeface="Sakkal Majalla" panose="02000000000000000000" pitchFamily="2" charset="-78"/>
            </a:endParaRPr>
          </a:p>
        </p:txBody>
      </p:sp>
      <p:sp>
        <p:nvSpPr>
          <p:cNvPr id="9410" name="Title 2">
            <a:extLst>
              <a:ext uri="{FF2B5EF4-FFF2-40B4-BE49-F238E27FC236}">
                <a16:creationId xmlns:a16="http://schemas.microsoft.com/office/drawing/2014/main" id="{9CC4CD44-41E5-8F61-A799-E85EA3B705F4}"/>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Joint investment opportunities </a:t>
            </a:r>
          </a:p>
        </p:txBody>
      </p:sp>
    </p:spTree>
    <p:custDataLst>
      <p:custData r:id="rId1"/>
    </p:custDataLst>
    <p:extLst>
      <p:ext uri="{BB962C8B-B14F-4D97-AF65-F5344CB8AC3E}">
        <p14:creationId xmlns:p14="http://schemas.microsoft.com/office/powerpoint/2010/main" val="1687146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1EFFF8-B090-3046-C131-F2739388C649}"/>
            </a:ext>
          </a:extLst>
        </p:cNvPr>
        <p:cNvGrpSpPr/>
        <p:nvPr/>
      </p:nvGrpSpPr>
      <p:grpSpPr>
        <a:xfrm>
          <a:off x="12192000" y="0"/>
          <a:ext cx="0" cy="0"/>
          <a:chOff x="12192000" y="0"/>
          <a:chExt cx="0" cy="0"/>
        </a:xfrm>
      </p:grpSpPr>
      <p:graphicFrame>
        <p:nvGraphicFramePr>
          <p:cNvPr id="4" name="Object 3" hidden="1">
            <a:extLst>
              <a:ext uri="{FF2B5EF4-FFF2-40B4-BE49-F238E27FC236}">
                <a16:creationId xmlns:a16="http://schemas.microsoft.com/office/drawing/2014/main" id="{5FE15732-B51A-9C76-C098-FA3583702D6C}"/>
              </a:ext>
            </a:extLst>
          </p:cNvPr>
          <p:cNvGraphicFramePr>
            <a:graphicFrameLocks noChangeAspect="1"/>
          </p:cNvGraphicFramePr>
          <p:nvPr>
            <p:custDataLst>
              <p:tags r:id="rId2"/>
            </p:custDataLst>
          </p:nvPr>
        </p:nvGraphicFramePr>
        <p:xfrm>
          <a:off x="12188824" y="1588"/>
          <a:ext cx="1588" cy="1588"/>
        </p:xfrm>
        <a:graphic>
          <a:graphicData uri="http://schemas.openxmlformats.org/presentationml/2006/ole">
            <mc:AlternateContent xmlns:mc="http://schemas.openxmlformats.org/markup-compatibility/2006">
              <mc:Choice xmlns:v="urn:schemas-microsoft-com:vml" Requires="v">
                <p:oleObj name="think-cell Slide" r:id="rId6" imgW="606" imgH="608" progId="TCLayout.ActiveDocument.1">
                  <p:embed/>
                </p:oleObj>
              </mc:Choice>
              <mc:Fallback>
                <p:oleObj name="think-cell Slide" r:id="rId6" imgW="606" imgH="608" progId="TCLayout.ActiveDocument.1">
                  <p:embed/>
                  <p:pic>
                    <p:nvPicPr>
                      <p:cNvPr id="4" name="Object 3" hidden="1">
                        <a:extLst>
                          <a:ext uri="{FF2B5EF4-FFF2-40B4-BE49-F238E27FC236}">
                            <a16:creationId xmlns:a16="http://schemas.microsoft.com/office/drawing/2014/main" id="{5FE15732-B51A-9C76-C098-FA3583702D6C}"/>
                          </a:ext>
                        </a:extLst>
                      </p:cNvPr>
                      <p:cNvPicPr/>
                      <p:nvPr/>
                    </p:nvPicPr>
                    <p:blipFill>
                      <a:blip r:embed="rId7"/>
                      <a:stretch>
                        <a:fillRect/>
                      </a:stretch>
                    </p:blipFill>
                    <p:spPr>
                      <a:xfrm>
                        <a:off x="12188824"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1183BFA-E9C3-5492-31C7-E6F1B0C69A97}"/>
              </a:ext>
            </a:extLst>
          </p:cNvPr>
          <p:cNvSpPr/>
          <p:nvPr>
            <p:custDataLst>
              <p:tags r:id="rId3"/>
            </p:custDataLst>
          </p:nvPr>
        </p:nvSpPr>
        <p:spPr>
          <a:xfrm flipH="1">
            <a:off x="12033250" y="0"/>
            <a:ext cx="158750" cy="158750"/>
          </a:xfrm>
          <a:prstGeom prst="rect">
            <a:avLst/>
          </a:prstGeom>
          <a:solidFill>
            <a:srgbClr val="2376BB"/>
          </a:solidFill>
          <a:ln w="9525" cap="rnd" cmpd="sng" algn="ctr">
            <a:solidFill>
              <a:srgbClr val="2376B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r" defTabSz="914400" rtl="1" eaLnBrk="1" fontAlgn="auto" latinLnBrk="0" hangingPunct="1">
              <a:lnSpc>
                <a:spcPct val="100000"/>
              </a:lnSpc>
              <a:spcBef>
                <a:spcPts val="0"/>
              </a:spcBef>
              <a:spcAft>
                <a:spcPts val="0"/>
              </a:spcAft>
              <a:buClrTx/>
              <a:buSzTx/>
              <a:buFontTx/>
              <a:buNone/>
              <a:tabLst/>
              <a:defRPr/>
            </a:pPr>
            <a:endParaRPr kumimoji="0" lang="ar" sz="2400" b="1" i="0" u="none" strike="noStrike" kern="1200" cap="none" spc="0" normalizeH="0" baseline="0" noProof="0">
              <a:ln>
                <a:noFill/>
              </a:ln>
              <a:solidFill>
                <a:srgbClr val="FFFFFF"/>
              </a:solidFill>
              <a:effectLst/>
              <a:uLnTx/>
              <a:uFillTx/>
              <a:latin typeface="Sakkal Majalla" panose="02000000000000000000" pitchFamily="2" charset="-78"/>
              <a:ea typeface="+mn-ea"/>
              <a:cs typeface="Sakkal Majalla" panose="02000000000000000000" pitchFamily="2" charset="-78"/>
              <a:sym typeface="Sakkal Majalla" panose="02000000000000000000" pitchFamily="2" charset="-78"/>
            </a:endParaRPr>
          </a:p>
        </p:txBody>
      </p:sp>
      <p:sp>
        <p:nvSpPr>
          <p:cNvPr id="31" name="Title 2">
            <a:extLst>
              <a:ext uri="{FF2B5EF4-FFF2-40B4-BE49-F238E27FC236}">
                <a16:creationId xmlns:a16="http://schemas.microsoft.com/office/drawing/2014/main" id="{88CF2DB1-9199-D995-A980-21285E4FB9F5}"/>
              </a:ext>
            </a:extLst>
          </p:cNvPr>
          <p:cNvSpPr txBox="1">
            <a:spLocks/>
          </p:cNvSpPr>
          <p:nvPr/>
        </p:nvSpPr>
        <p:spPr>
          <a:xfrm flipH="1">
            <a:off x="287403" y="107507"/>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FFC000">
                    <a:lumMod val="50000"/>
                  </a:srgbClr>
                </a:solidFill>
                <a:effectLst/>
                <a:uLnTx/>
                <a:uFillTx/>
                <a:latin typeface="Arial" panose="020B0604020202020204" pitchFamily="34" charset="0"/>
                <a:cs typeface="Arial" panose="020B0604020202020204" pitchFamily="34" charset="0"/>
                <a:sym typeface="Sakkal Majalla" panose="02000000000000000000" pitchFamily="2" charset="-78"/>
              </a:rPr>
              <a:t>The main partnership projects that have been announced.</a:t>
            </a:r>
          </a:p>
        </p:txBody>
      </p:sp>
      <p:cxnSp>
        <p:nvCxnSpPr>
          <p:cNvPr id="2" name="Straight Connector 1">
            <a:extLst>
              <a:ext uri="{FF2B5EF4-FFF2-40B4-BE49-F238E27FC236}">
                <a16:creationId xmlns:a16="http://schemas.microsoft.com/office/drawing/2014/main" id="{973F92B7-366D-03BE-E3FB-99B55EB07D5B}"/>
              </a:ext>
            </a:extLst>
          </p:cNvPr>
          <p:cNvCxnSpPr/>
          <p:nvPr/>
        </p:nvCxnSpPr>
        <p:spPr>
          <a:xfrm>
            <a:off x="174526" y="661400"/>
            <a:ext cx="6193411" cy="0"/>
          </a:xfrm>
          <a:prstGeom prst="line">
            <a:avLst/>
          </a:prstGeom>
          <a:ln w="38100">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17">
            <a:extLst>
              <a:ext uri="{FF2B5EF4-FFF2-40B4-BE49-F238E27FC236}">
                <a16:creationId xmlns:a16="http://schemas.microsoft.com/office/drawing/2014/main" id="{668E1212-5580-6650-3108-27EC473859C8}"/>
              </a:ext>
            </a:extLst>
          </p:cNvPr>
          <p:cNvSpPr/>
          <p:nvPr/>
        </p:nvSpPr>
        <p:spPr>
          <a:xfrm rot="10800000">
            <a:off x="12056882" y="0"/>
            <a:ext cx="135118" cy="532163"/>
          </a:xfrm>
          <a:custGeom>
            <a:avLst/>
            <a:gdLst>
              <a:gd name="connsiteX0" fmla="*/ 0 w 5005137"/>
              <a:gd name="connsiteY0" fmla="*/ 0 h 654970"/>
              <a:gd name="connsiteX1" fmla="*/ 5005137 w 5005137"/>
              <a:gd name="connsiteY1" fmla="*/ 0 h 654970"/>
              <a:gd name="connsiteX2" fmla="*/ 5005137 w 5005137"/>
              <a:gd name="connsiteY2" fmla="*/ 654970 h 654970"/>
              <a:gd name="connsiteX3" fmla="*/ 0 w 5005137"/>
              <a:gd name="connsiteY3" fmla="*/ 654970 h 654970"/>
              <a:gd name="connsiteX4" fmla="*/ 0 w 5005137"/>
              <a:gd name="connsiteY4" fmla="*/ 0 h 654970"/>
              <a:gd name="connsiteX0" fmla="*/ 0 w 5005137"/>
              <a:gd name="connsiteY0" fmla="*/ 0 h 654970"/>
              <a:gd name="connsiteX1" fmla="*/ 5005137 w 5005137"/>
              <a:gd name="connsiteY1" fmla="*/ 0 h 654970"/>
              <a:gd name="connsiteX2" fmla="*/ 4403558 w 5005137"/>
              <a:gd name="connsiteY2" fmla="*/ 654970 h 654970"/>
              <a:gd name="connsiteX3" fmla="*/ 0 w 5005137"/>
              <a:gd name="connsiteY3" fmla="*/ 654970 h 654970"/>
              <a:gd name="connsiteX4" fmla="*/ 0 w 5005137"/>
              <a:gd name="connsiteY4" fmla="*/ 0 h 654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5137" h="654970">
                <a:moveTo>
                  <a:pt x="0" y="0"/>
                </a:moveTo>
                <a:lnTo>
                  <a:pt x="5005137" y="0"/>
                </a:lnTo>
                <a:lnTo>
                  <a:pt x="4403558" y="654970"/>
                </a:lnTo>
                <a:lnTo>
                  <a:pt x="0" y="654970"/>
                </a:lnTo>
                <a:lnTo>
                  <a:pt x="0" y="0"/>
                </a:lnTo>
                <a:close/>
              </a:path>
            </a:pathLst>
          </a:custGeom>
          <a:solidFill>
            <a:schemeClr val="accent4">
              <a:lumMod val="50000"/>
            </a:schemeClr>
          </a:solidFill>
          <a:ln w="10795" cap="flat" cmpd="sng" algn="ctr">
            <a:solidFill>
              <a:schemeClr val="accent4">
                <a:lumMod val="50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effectLst/>
              <a:uLnTx/>
              <a:uFillTx/>
              <a:latin typeface="Sakkal Majalla" panose="02000000000000000000" pitchFamily="2" charset="-78"/>
              <a:cs typeface="Sakkal Majalla" panose="02000000000000000000" pitchFamily="2" charset="-78"/>
            </a:endParaRPr>
          </a:p>
        </p:txBody>
      </p:sp>
      <p:sp>
        <p:nvSpPr>
          <p:cNvPr id="19" name="Title 2">
            <a:extLst>
              <a:ext uri="{FF2B5EF4-FFF2-40B4-BE49-F238E27FC236}">
                <a16:creationId xmlns:a16="http://schemas.microsoft.com/office/drawing/2014/main" id="{11E1E80C-9109-9D49-B118-CF7844A9A88D}"/>
              </a:ext>
            </a:extLst>
          </p:cNvPr>
          <p:cNvSpPr txBox="1">
            <a:spLocks/>
          </p:cNvSpPr>
          <p:nvPr/>
        </p:nvSpPr>
        <p:spPr>
          <a:xfrm flipH="1">
            <a:off x="287403" y="789880"/>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Announced and ongoing projects.</a:t>
            </a:r>
          </a:p>
        </p:txBody>
      </p:sp>
      <p:sp>
        <p:nvSpPr>
          <p:cNvPr id="20" name="Title 2">
            <a:extLst>
              <a:ext uri="{FF2B5EF4-FFF2-40B4-BE49-F238E27FC236}">
                <a16:creationId xmlns:a16="http://schemas.microsoft.com/office/drawing/2014/main" id="{9D214E3F-49E9-DDC7-4C63-EF5C88FC143F}"/>
              </a:ext>
            </a:extLst>
          </p:cNvPr>
          <p:cNvSpPr txBox="1">
            <a:spLocks/>
          </p:cNvSpPr>
          <p:nvPr/>
        </p:nvSpPr>
        <p:spPr>
          <a:xfrm flipH="1">
            <a:off x="287403" y="3680616"/>
            <a:ext cx="11617194" cy="449577"/>
          </a:xfrm>
          <a:prstGeom prst="rect">
            <a:avLst/>
          </a:prstGeom>
        </p:spPr>
        <p:txBody>
          <a:bodyPr vert="horz" wrap="square" lIns="0" tIns="0" rIns="0" bIns="0" rtlCol="0" anchor="ctr">
            <a:noAutofit/>
          </a:bodyPr>
          <a:lstStyle>
            <a:defPPr>
              <a:defRPr lang="en-US"/>
            </a:defPPr>
            <a:lvl1pPr algn="r" rtl="1">
              <a:lnSpc>
                <a:spcPct val="90000"/>
              </a:lnSpc>
              <a:spcBef>
                <a:spcPct val="0"/>
              </a:spcBef>
              <a:buNone/>
              <a:defRPr kumimoji="0" sz="3200" b="1" i="0" u="none" strike="noStrike" cap="none" spc="0" normalizeH="0" baseline="0">
                <a:ln>
                  <a:noFill/>
                </a:ln>
                <a:solidFill>
                  <a:schemeClr val="tx2"/>
                </a:solidFill>
                <a:effectLst/>
                <a:uLnTx/>
                <a:uFillTx/>
                <a:latin typeface="Sakkal Majalla" panose="02000000000000000000" pitchFamily="2" charset="-78"/>
                <a:cs typeface="Sakkal Majalla" panose="02000000000000000000" pitchFamily="2" charset="-7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600" b="1" i="0" u="none" strike="noStrike" kern="1200" cap="none" spc="0" normalizeH="0" baseline="0" noProof="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Announced </a:t>
            </a:r>
            <a:r>
              <a:rPr kumimoji="0" lang="en-US" sz="1600" b="1" i="0" u="none" strike="noStrike" kern="1200" cap="none" spc="0" normalizeH="0" baseline="0" noProof="0" dirty="0">
                <a:ln>
                  <a:noFill/>
                </a:ln>
                <a:solidFill>
                  <a:srgbClr val="817A6C"/>
                </a:solidFill>
                <a:effectLst/>
                <a:uLnTx/>
                <a:uFillTx/>
                <a:latin typeface="Arial" panose="020B0604020202020204" pitchFamily="34" charset="0"/>
                <a:cs typeface="Arial" panose="020B0604020202020204" pitchFamily="34" charset="0"/>
                <a:sym typeface="Sakkal Majalla" panose="02000000000000000000" pitchFamily="2" charset="-78"/>
              </a:rPr>
              <a:t>and under-development projects.</a:t>
            </a:r>
          </a:p>
        </p:txBody>
      </p:sp>
      <p:graphicFrame>
        <p:nvGraphicFramePr>
          <p:cNvPr id="28" name="Table 27">
            <a:extLst>
              <a:ext uri="{FF2B5EF4-FFF2-40B4-BE49-F238E27FC236}">
                <a16:creationId xmlns:a16="http://schemas.microsoft.com/office/drawing/2014/main" id="{65586AA4-ACC4-22DD-2087-1A260829F82B}"/>
              </a:ext>
            </a:extLst>
          </p:cNvPr>
          <p:cNvGraphicFramePr>
            <a:graphicFrameLocks noGrp="1"/>
          </p:cNvGraphicFramePr>
          <p:nvPr>
            <p:extLst>
              <p:ext uri="{D42A27DB-BD31-4B8C-83A1-F6EECF244321}">
                <p14:modId xmlns:p14="http://schemas.microsoft.com/office/powerpoint/2010/main" val="3397915412"/>
              </p:ext>
            </p:extLst>
          </p:nvPr>
        </p:nvGraphicFramePr>
        <p:xfrm>
          <a:off x="287403" y="1217451"/>
          <a:ext cx="11537609" cy="2463165"/>
        </p:xfrm>
        <a:graphic>
          <a:graphicData uri="http://schemas.openxmlformats.org/drawingml/2006/table">
            <a:tbl>
              <a:tblPr rtl="1" firstRow="1" firstCol="1" bandRow="1">
                <a:tableStyleId>{5C22544A-7EE6-4342-B048-85BDC9FD1C3A}</a:tableStyleId>
              </a:tblPr>
              <a:tblGrid>
                <a:gridCol w="3186585">
                  <a:extLst>
                    <a:ext uri="{9D8B030D-6E8A-4147-A177-3AD203B41FA5}">
                      <a16:colId xmlns:a16="http://schemas.microsoft.com/office/drawing/2014/main" val="3810681801"/>
                    </a:ext>
                  </a:extLst>
                </a:gridCol>
                <a:gridCol w="1215811">
                  <a:extLst>
                    <a:ext uri="{9D8B030D-6E8A-4147-A177-3AD203B41FA5}">
                      <a16:colId xmlns:a16="http://schemas.microsoft.com/office/drawing/2014/main" val="2580248606"/>
                    </a:ext>
                  </a:extLst>
                </a:gridCol>
                <a:gridCol w="1094387">
                  <a:extLst>
                    <a:ext uri="{9D8B030D-6E8A-4147-A177-3AD203B41FA5}">
                      <a16:colId xmlns:a16="http://schemas.microsoft.com/office/drawing/2014/main" val="1297861826"/>
                    </a:ext>
                  </a:extLst>
                </a:gridCol>
                <a:gridCol w="5508349">
                  <a:extLst>
                    <a:ext uri="{9D8B030D-6E8A-4147-A177-3AD203B41FA5}">
                      <a16:colId xmlns:a16="http://schemas.microsoft.com/office/drawing/2014/main" val="4265322921"/>
                    </a:ext>
                  </a:extLst>
                </a:gridCol>
                <a:gridCol w="532477">
                  <a:extLst>
                    <a:ext uri="{9D8B030D-6E8A-4147-A177-3AD203B41FA5}">
                      <a16:colId xmlns:a16="http://schemas.microsoft.com/office/drawing/2014/main" val="255570878"/>
                    </a:ext>
                  </a:extLst>
                </a:gridCol>
              </a:tblGrid>
              <a:tr h="321688">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1200" b="1" kern="1200" dirty="0">
                          <a:solidFill>
                            <a:schemeClr val="bg1"/>
                          </a:solidFill>
                          <a:latin typeface="Arial" panose="020B0604020202020204" pitchFamily="34" charset="0"/>
                          <a:ea typeface="+mn-ea"/>
                          <a:cs typeface="Arial" panose="020B0604020202020204" pitchFamily="34" charset="0"/>
                        </a:rPr>
                        <a:t>Updates</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1200" b="1" kern="1200" dirty="0">
                          <a:solidFill>
                            <a:schemeClr val="bg1"/>
                          </a:solidFill>
                          <a:latin typeface="Arial" panose="020B0604020202020204" pitchFamily="34" charset="0"/>
                          <a:ea typeface="+mn-ea"/>
                          <a:cs typeface="Arial" panose="020B0604020202020204" pitchFamily="34" charset="0"/>
                        </a:rPr>
                        <a:t>Countries</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1200" b="1" kern="1200" dirty="0">
                          <a:solidFill>
                            <a:schemeClr val="bg1"/>
                          </a:solidFill>
                          <a:latin typeface="Arial" panose="020B0604020202020204" pitchFamily="34" charset="0"/>
                          <a:ea typeface="+mn-ea"/>
                          <a:cs typeface="Arial" panose="020B0604020202020204" pitchFamily="34" charset="0"/>
                        </a:rPr>
                        <a:t>Investment Size ($)</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200" b="1" kern="1200" dirty="0">
                          <a:solidFill>
                            <a:schemeClr val="bg1"/>
                          </a:solidFill>
                          <a:latin typeface="Arial" panose="020B0604020202020204" pitchFamily="34" charset="0"/>
                          <a:ea typeface="+mn-ea"/>
                          <a:cs typeface="Arial" panose="020B0604020202020204" pitchFamily="34" charset="0"/>
                        </a:rPr>
                        <a:t>Project/ Agreement</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1200" b="1" kern="1200" dirty="0">
                          <a:solidFill>
                            <a:schemeClr val="bg1"/>
                          </a:solidFill>
                          <a:latin typeface="Arial" panose="020B0604020202020204" pitchFamily="34" charset="0"/>
                          <a:ea typeface="+mn-ea"/>
                          <a:cs typeface="Arial" panose="020B0604020202020204" pitchFamily="34" charset="0"/>
                        </a:rPr>
                        <a:t>#</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extLst>
                  <a:ext uri="{0D108BD9-81ED-4DB2-BD59-A6C34878D82A}">
                    <a16:rowId xmlns:a16="http://schemas.microsoft.com/office/drawing/2014/main" val="1549014671"/>
                  </a:ext>
                </a:extLst>
              </a:tr>
              <a:tr h="495675">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500" b="0" kern="1200" dirty="0">
                          <a:solidFill>
                            <a:srgbClr val="817A6C"/>
                          </a:solidFill>
                          <a:latin typeface="Arial" panose="020B0604020202020204" pitchFamily="34" charset="0"/>
                          <a:ea typeface="+mn-ea"/>
                          <a:cs typeface="Arial" panose="020B0604020202020204" pitchFamily="34" charset="0"/>
                        </a:rPr>
                        <a:t>The imported materials amounted to AED 1.1 billion from the date of signing the agreement until the end of 2024. </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ar" sz="1500" b="1" kern="1200" dirty="0">
                        <a:solidFill>
                          <a:srgbClr val="817A6C"/>
                        </a:solidFill>
                        <a:latin typeface="Arial" panose="020B0604020202020204" pitchFamily="34" charset="0"/>
                        <a:ea typeface="+mn-ea"/>
                        <a:cs typeface="+mn-cs"/>
                        <a:sym typeface="Sakkal Majalla" panose="02000000000000000000" pitchFamily="2" charset="-7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200" b="1" kern="1200" dirty="0">
                          <a:solidFill>
                            <a:srgbClr val="817A6C"/>
                          </a:solidFill>
                          <a:latin typeface="Janna LT" panose="01000000000000000000" pitchFamily="2" charset="-78"/>
                          <a:ea typeface="+mn-ea"/>
                          <a:cs typeface="Janna LT" panose="01000000000000000000" pitchFamily="2" charset="-78"/>
                        </a:rPr>
                        <a:t>2000</a:t>
                      </a:r>
                      <a:endParaRPr lang="en-US" sz="12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rgbClr val="817A6C"/>
                          </a:solidFill>
                          <a:latin typeface="Aptos Narrow" panose="020B0004020202020204" pitchFamily="34" charset="0"/>
                          <a:ea typeface="+mn-ea"/>
                          <a:cs typeface="Janna LT" panose="01000000000000000000"/>
                        </a:rPr>
                        <a:t>Supply of iron ore pellets from "Bahrain Steel" to "Emirates Steel".</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rial" panose="020B0604020202020204" pitchFamily="34" charset="0"/>
                          <a:ea typeface="+mn-ea"/>
                          <a:cs typeface="+mn-cs"/>
                        </a:rPr>
                        <a:t>1</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08896940"/>
                  </a:ext>
                </a:extLst>
              </a:tr>
              <a:tr h="359364">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500" b="0" kern="1200" dirty="0">
                          <a:solidFill>
                            <a:srgbClr val="817A6C"/>
                          </a:solidFill>
                          <a:latin typeface="Arial" panose="020B0604020202020204" pitchFamily="34" charset="0"/>
                          <a:ea typeface="+mn-ea"/>
                          <a:cs typeface="Arial" panose="020B0604020202020204" pitchFamily="34" charset="0"/>
                        </a:rPr>
                        <a:t>Production Start 2028</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ar" sz="1500" b="1" kern="1200" dirty="0">
                        <a:solidFill>
                          <a:srgbClr val="817A6C"/>
                        </a:solidFill>
                        <a:latin typeface="Arial" panose="020B0604020202020204" pitchFamily="34" charset="0"/>
                        <a:ea typeface="+mn-ea"/>
                        <a:cs typeface="+mn-cs"/>
                        <a:sym typeface="Sakkal Majalla" panose="02000000000000000000" pitchFamily="2" charset="-7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200" b="1" kern="1200" dirty="0">
                          <a:solidFill>
                            <a:srgbClr val="817A6C"/>
                          </a:solidFill>
                          <a:latin typeface="Janna LT" panose="01000000000000000000" pitchFamily="2" charset="-78"/>
                          <a:ea typeface="+mn-ea"/>
                          <a:cs typeface="Janna LT" panose="01000000000000000000" pitchFamily="2" charset="-78"/>
                        </a:rPr>
                        <a:t>500</a:t>
                      </a:r>
                      <a:endParaRPr lang="en-US" sz="12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rgbClr val="817A6C"/>
                          </a:solidFill>
                          <a:latin typeface="Aptos Narrow" panose="020B0004020202020204" pitchFamily="34" charset="0"/>
                          <a:ea typeface="+mn-ea"/>
                          <a:cs typeface="Janna LT" panose="01000000000000000000"/>
                        </a:rPr>
                        <a:t>Establishment of a factory in Egypt to produce sodium carbonate by "Soda Chemicals Industries" (Egyptian company).</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rial" panose="020B0604020202020204" pitchFamily="34" charset="0"/>
                          <a:ea typeface="+mn-ea"/>
                          <a:cs typeface="+mn-cs"/>
                        </a:rPr>
                        <a:t>2</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16001957"/>
                  </a:ext>
                </a:extLst>
              </a:tr>
              <a:tr h="66090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500" b="0" kern="1200" dirty="0">
                          <a:solidFill>
                            <a:srgbClr val="817A6C"/>
                          </a:solidFill>
                          <a:latin typeface="Arial" panose="020B0604020202020204" pitchFamily="34" charset="0"/>
                          <a:ea typeface="+mn-ea"/>
                          <a:cs typeface="Arial" panose="020B0604020202020204" pitchFamily="34" charset="0"/>
                        </a:rPr>
                        <a:t>Technology has been transferred, and products are being registered in Middle Eastern export countries</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500" b="1" kern="1200" dirty="0">
                        <a:solidFill>
                          <a:srgbClr val="817A6C"/>
                        </a:solidFill>
                        <a:latin typeface="Arial" panose="020B0604020202020204" pitchFamily="34" charset="0"/>
                        <a:ea typeface="+mn-ea"/>
                        <a:cs typeface="+mn-cs"/>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200" b="1" kern="1200" dirty="0">
                          <a:solidFill>
                            <a:srgbClr val="817A6C"/>
                          </a:solidFill>
                          <a:latin typeface="Janna LT" panose="01000000000000000000" pitchFamily="2" charset="-78"/>
                          <a:ea typeface="+mn-ea"/>
                          <a:cs typeface="Janna LT" panose="01000000000000000000" pitchFamily="2" charset="-78"/>
                        </a:rPr>
                        <a:t>60</a:t>
                      </a:r>
                      <a:endParaRPr lang="en-US" sz="12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rgbClr val="817A6C"/>
                          </a:solidFill>
                          <a:latin typeface="Aptos Narrow" panose="020B0004020202020204" pitchFamily="34" charset="0"/>
                          <a:ea typeface="+mn-ea"/>
                          <a:cs typeface="Janna LT" panose="01000000000000000000"/>
                        </a:rPr>
                        <a:t>Pharmaceutical research and development and drug production in the UAE by "Global Pharma" (UAE) and "Safi Pharma" (Jordan).</a:t>
                      </a:r>
                    </a:p>
                  </a:txBody>
                  <a:tcPr marL="9525" marR="9525" marT="9525"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rial" panose="020B0604020202020204" pitchFamily="34" charset="0"/>
                          <a:ea typeface="+mn-ea"/>
                          <a:cs typeface="+mn-cs"/>
                        </a:rPr>
                        <a:t>3</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19488689"/>
                  </a:ext>
                </a:extLst>
              </a:tr>
            </a:tbl>
          </a:graphicData>
        </a:graphic>
      </p:graphicFrame>
      <p:pic>
        <p:nvPicPr>
          <p:cNvPr id="29" name="flag_UAE">
            <a:extLst>
              <a:ext uri="{FF2B5EF4-FFF2-40B4-BE49-F238E27FC236}">
                <a16:creationId xmlns:a16="http://schemas.microsoft.com/office/drawing/2014/main" id="{2B0B1055-ADBD-22F9-C90E-9304921EF2AD}"/>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8152643" y="1851697"/>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0" name="Picture 4">
            <a:extLst>
              <a:ext uri="{FF2B5EF4-FFF2-40B4-BE49-F238E27FC236}">
                <a16:creationId xmlns:a16="http://schemas.microsoft.com/office/drawing/2014/main" id="{CADC88A9-F686-6AAB-5651-6C173ADF5015}"/>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541567" y="1841541"/>
            <a:ext cx="335267" cy="2414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2" name="flag_egypt">
            <a:extLst>
              <a:ext uri="{FF2B5EF4-FFF2-40B4-BE49-F238E27FC236}">
                <a16:creationId xmlns:a16="http://schemas.microsoft.com/office/drawing/2014/main" id="{FA7BB2C1-7082-1F8C-6AF8-E97825DC1429}"/>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7629348" y="2528283"/>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3" name="flag_UAE">
            <a:extLst>
              <a:ext uri="{FF2B5EF4-FFF2-40B4-BE49-F238E27FC236}">
                <a16:creationId xmlns:a16="http://schemas.microsoft.com/office/drawing/2014/main" id="{A663A1E2-E008-0C94-3ECB-8FBAC42A181A}"/>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8195785" y="2538300"/>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4" name="flag_UAE">
            <a:extLst>
              <a:ext uri="{FF2B5EF4-FFF2-40B4-BE49-F238E27FC236}">
                <a16:creationId xmlns:a16="http://schemas.microsoft.com/office/drawing/2014/main" id="{4493E9F5-2DBD-B29E-B5E8-C7834A9FC3EF}"/>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8195785" y="3055078"/>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5" name="flag_jordan">
            <a:extLst>
              <a:ext uri="{FF2B5EF4-FFF2-40B4-BE49-F238E27FC236}">
                <a16:creationId xmlns:a16="http://schemas.microsoft.com/office/drawing/2014/main" id="{6EF8D96F-D3AB-B0ED-AA5E-669F2B543886}"/>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7655211" y="3069439"/>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19050">
                <a:gradFill flip="none" rotWithShape="1">
                  <a:gsLst>
                    <a:gs pos="0">
                      <a:schemeClr val="accent2"/>
                    </a:gs>
                    <a:gs pos="100000">
                      <a:schemeClr val="tx2"/>
                    </a:gs>
                  </a:gsLst>
                  <a:lin ang="2700000" scaled="1"/>
                  <a:tileRect/>
                </a:gradFill>
              </a14:hiddenLine>
            </a:ext>
          </a:extLst>
        </p:spPr>
      </p:pic>
      <p:graphicFrame>
        <p:nvGraphicFramePr>
          <p:cNvPr id="36" name="Table 35">
            <a:extLst>
              <a:ext uri="{FF2B5EF4-FFF2-40B4-BE49-F238E27FC236}">
                <a16:creationId xmlns:a16="http://schemas.microsoft.com/office/drawing/2014/main" id="{72EF4CBC-AC2F-DF02-C1E0-FC1ECF2A4717}"/>
              </a:ext>
            </a:extLst>
          </p:cNvPr>
          <p:cNvGraphicFramePr>
            <a:graphicFrameLocks noGrp="1"/>
          </p:cNvGraphicFramePr>
          <p:nvPr>
            <p:extLst>
              <p:ext uri="{D42A27DB-BD31-4B8C-83A1-F6EECF244321}">
                <p14:modId xmlns:p14="http://schemas.microsoft.com/office/powerpoint/2010/main" val="3868871653"/>
              </p:ext>
            </p:extLst>
          </p:nvPr>
        </p:nvGraphicFramePr>
        <p:xfrm>
          <a:off x="287403" y="4087497"/>
          <a:ext cx="11537609" cy="1674495"/>
        </p:xfrm>
        <a:graphic>
          <a:graphicData uri="http://schemas.openxmlformats.org/drawingml/2006/table">
            <a:tbl>
              <a:tblPr rtl="1" firstRow="1" firstCol="1" bandRow="1">
                <a:tableStyleId>{5C22544A-7EE6-4342-B048-85BDC9FD1C3A}</a:tableStyleId>
              </a:tblPr>
              <a:tblGrid>
                <a:gridCol w="1679740">
                  <a:extLst>
                    <a:ext uri="{9D8B030D-6E8A-4147-A177-3AD203B41FA5}">
                      <a16:colId xmlns:a16="http://schemas.microsoft.com/office/drawing/2014/main" val="2580248606"/>
                    </a:ext>
                  </a:extLst>
                </a:gridCol>
                <a:gridCol w="1511983">
                  <a:extLst>
                    <a:ext uri="{9D8B030D-6E8A-4147-A177-3AD203B41FA5}">
                      <a16:colId xmlns:a16="http://schemas.microsoft.com/office/drawing/2014/main" val="1297861826"/>
                    </a:ext>
                  </a:extLst>
                </a:gridCol>
                <a:gridCol w="7791460">
                  <a:extLst>
                    <a:ext uri="{9D8B030D-6E8A-4147-A177-3AD203B41FA5}">
                      <a16:colId xmlns:a16="http://schemas.microsoft.com/office/drawing/2014/main" val="4265322921"/>
                    </a:ext>
                  </a:extLst>
                </a:gridCol>
                <a:gridCol w="554426">
                  <a:extLst>
                    <a:ext uri="{9D8B030D-6E8A-4147-A177-3AD203B41FA5}">
                      <a16:colId xmlns:a16="http://schemas.microsoft.com/office/drawing/2014/main" val="255570878"/>
                    </a:ext>
                  </a:extLst>
                </a:gridCol>
              </a:tblGrid>
              <a:tr h="0">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1200" b="1" kern="1200" dirty="0">
                          <a:solidFill>
                            <a:schemeClr val="bg1"/>
                          </a:solidFill>
                          <a:latin typeface="Arial" panose="020B0604020202020204" pitchFamily="34" charset="0"/>
                          <a:ea typeface="+mn-ea"/>
                          <a:cs typeface="Arial" panose="020B0604020202020204" pitchFamily="34" charset="0"/>
                        </a:rPr>
                        <a:t>Countries</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1200" b="1" kern="1200" dirty="0">
                          <a:solidFill>
                            <a:schemeClr val="bg1"/>
                          </a:solidFill>
                          <a:latin typeface="Arial" panose="020B0604020202020204" pitchFamily="34" charset="0"/>
                          <a:ea typeface="+mn-ea"/>
                          <a:cs typeface="Arial" panose="020B0604020202020204" pitchFamily="34" charset="0"/>
                        </a:rPr>
                        <a:t>Investment Size ($)</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en-US" sz="1200" b="1" kern="1200" dirty="0">
                          <a:solidFill>
                            <a:schemeClr val="bg1"/>
                          </a:solidFill>
                          <a:latin typeface="Arial" panose="020B0604020202020204" pitchFamily="34" charset="0"/>
                          <a:ea typeface="+mn-ea"/>
                          <a:cs typeface="Arial" panose="020B0604020202020204" pitchFamily="34" charset="0"/>
                        </a:rPr>
                        <a:t>Project/ Agreement</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tc>
                  <a:txBody>
                    <a:bodyPr/>
                    <a:lstStyle/>
                    <a:p>
                      <a:pPr marL="0" marR="0" lvl="0" indent="0" algn="ctr" defTabSz="914400" rtl="1" eaLnBrk="1" fontAlgn="auto" latinLnBrk="0" hangingPunct="1">
                        <a:lnSpc>
                          <a:spcPct val="100000"/>
                        </a:lnSpc>
                        <a:spcBef>
                          <a:spcPts val="0"/>
                        </a:spcBef>
                        <a:spcAft>
                          <a:spcPts val="0"/>
                        </a:spcAft>
                        <a:buClrTx/>
                        <a:buSzTx/>
                        <a:buFont typeface="+mj-lt"/>
                        <a:buNone/>
                        <a:tabLst/>
                        <a:defRPr/>
                      </a:pPr>
                      <a:r>
                        <a:rPr lang="en-US" sz="1200" b="1" kern="1200" dirty="0">
                          <a:solidFill>
                            <a:schemeClr val="bg1"/>
                          </a:solidFill>
                          <a:latin typeface="Arial" panose="020B0604020202020204" pitchFamily="34" charset="0"/>
                          <a:ea typeface="+mn-ea"/>
                          <a:cs typeface="Arial" panose="020B0604020202020204" pitchFamily="34" charset="0"/>
                        </a:rPr>
                        <a:t>#</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7F6000"/>
                    </a:solidFill>
                  </a:tcPr>
                </a:tc>
                <a:extLst>
                  <a:ext uri="{0D108BD9-81ED-4DB2-BD59-A6C34878D82A}">
                    <a16:rowId xmlns:a16="http://schemas.microsoft.com/office/drawing/2014/main" val="1549014671"/>
                  </a:ext>
                </a:extLst>
              </a:tr>
              <a:tr h="14660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ar" sz="1500" b="1" kern="1200" dirty="0">
                        <a:solidFill>
                          <a:srgbClr val="817A6C"/>
                        </a:solidFill>
                        <a:latin typeface="Arial" panose="020B0604020202020204" pitchFamily="34" charset="0"/>
                        <a:ea typeface="+mn-ea"/>
                        <a:cs typeface="+mn-cs"/>
                        <a:sym typeface="Sakkal Majalla" panose="02000000000000000000" pitchFamily="2" charset="-7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ar-AE" sz="1200" b="1" kern="1200" dirty="0">
                          <a:solidFill>
                            <a:srgbClr val="817A6C"/>
                          </a:solidFill>
                          <a:latin typeface="Janna LT" panose="01000000000000000000" pitchFamily="2" charset="-78"/>
                          <a:ea typeface="+mn-ea"/>
                          <a:cs typeface="Janna LT" panose="01000000000000000000" pitchFamily="2" charset="-78"/>
                        </a:rPr>
                        <a:t>-</a:t>
                      </a:r>
                      <a:endParaRPr lang="en-US" sz="1200" b="1" kern="1200" dirty="0">
                        <a:solidFill>
                          <a:srgbClr val="817A6C"/>
                        </a:solidFill>
                        <a:latin typeface="Janna LT" panose="01000000000000000000" pitchFamily="2" charset="-78"/>
                        <a:ea typeface="+mn-ea"/>
                        <a:cs typeface="Janna LT" panose="01000000000000000000" pitchFamily="2" charset="-78"/>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rgbClr val="817A6C"/>
                          </a:solidFill>
                          <a:latin typeface="Aptos Narrow" panose="020B0004020202020204" pitchFamily="34" charset="0"/>
                          <a:ea typeface="+mn-ea"/>
                          <a:cs typeface="Janna LT" panose="01000000000000000000"/>
                        </a:rPr>
                        <a:t>Signing of an agreement to develop an industrial land in East Port Said with an area of 20 square kilometers.</a:t>
                      </a:r>
                    </a:p>
                  </a:txBody>
                  <a:tcPr marL="9525" marR="9525" marT="9525"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rial" panose="020B0604020202020204" pitchFamily="34" charset="0"/>
                          <a:ea typeface="+mn-ea"/>
                          <a:cs typeface="+mn-cs"/>
                        </a:rPr>
                        <a:t>1</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08896940"/>
                  </a:ext>
                </a:extLst>
              </a:tr>
              <a:tr h="14660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500" b="1" kern="1200" dirty="0">
                        <a:solidFill>
                          <a:srgbClr val="817A6C"/>
                        </a:solidFill>
                        <a:latin typeface="Arial" panose="020B0604020202020204" pitchFamily="34" charset="0"/>
                        <a:ea typeface="+mn-ea"/>
                        <a:cs typeface="+mn-cs"/>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en-US" sz="1200" b="1" kern="1200" dirty="0">
                          <a:solidFill>
                            <a:srgbClr val="817A6C"/>
                          </a:solidFill>
                          <a:latin typeface="Janna LT" panose="01000000000000000000" pitchFamily="2" charset="-78"/>
                          <a:ea typeface="+mn-ea"/>
                          <a:cs typeface="Janna LT" panose="01000000000000000000" pitchFamily="2" charset="-78"/>
                        </a:rPr>
                        <a:t>400</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rgbClr val="817A6C"/>
                          </a:solidFill>
                          <a:latin typeface="Aptos Narrow" panose="020B0004020202020204" pitchFamily="34" charset="0"/>
                          <a:ea typeface="+mn-ea"/>
                          <a:cs typeface="Janna LT" panose="01000000000000000000"/>
                        </a:rPr>
                        <a:t>Establishment of a complex for producing feed additives and chemicals in Egypt by "CFC" (Egyptian company).</a:t>
                      </a:r>
                    </a:p>
                  </a:txBody>
                  <a:tcPr marL="9525" marR="9525" marT="9525"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rial" panose="020B0604020202020204" pitchFamily="34" charset="0"/>
                          <a:ea typeface="+mn-ea"/>
                          <a:cs typeface="+mn-cs"/>
                        </a:rPr>
                        <a:t>4</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11066125"/>
                  </a:ext>
                </a:extLst>
              </a:tr>
              <a:tr h="146607">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500" b="1" kern="1200" dirty="0">
                        <a:solidFill>
                          <a:srgbClr val="817A6C"/>
                        </a:solidFill>
                        <a:latin typeface="Arial" panose="020B0604020202020204" pitchFamily="34" charset="0"/>
                        <a:ea typeface="+mn-ea"/>
                        <a:cs typeface="+mn-cs"/>
                      </a:endParaRP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en-US" sz="1200" b="1" kern="1200" dirty="0">
                          <a:solidFill>
                            <a:srgbClr val="817A6C"/>
                          </a:solidFill>
                          <a:latin typeface="Janna LT" panose="01000000000000000000" pitchFamily="2" charset="-78"/>
                          <a:ea typeface="+mn-ea"/>
                          <a:cs typeface="Janna LT" panose="01000000000000000000" pitchFamily="2" charset="-78"/>
                        </a:rPr>
                        <a:t>30</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kern="1200" dirty="0">
                          <a:solidFill>
                            <a:srgbClr val="817A6C"/>
                          </a:solidFill>
                          <a:latin typeface="Aptos Narrow" panose="020B0004020202020204" pitchFamily="34" charset="0"/>
                          <a:ea typeface="+mn-ea"/>
                          <a:cs typeface="Janna LT" panose="01000000000000000000"/>
                        </a:rPr>
                        <a:t>Production of biological and chemical eye medications (UAE) by "Gulf Inject" (UAE) in collaboration with "Oman Pharmaceutical Industries" (Jordan).</a:t>
                      </a:r>
                    </a:p>
                  </a:txBody>
                  <a:tcPr marL="9525" marR="9525" marT="9525" marB="0" anchor="b">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1" eaLnBrk="1" fontAlgn="auto" latinLnBrk="0" hangingPunct="1">
                        <a:lnSpc>
                          <a:spcPct val="150000"/>
                        </a:lnSpc>
                        <a:spcBef>
                          <a:spcPts val="0"/>
                        </a:spcBef>
                        <a:spcAft>
                          <a:spcPts val="0"/>
                        </a:spcAft>
                        <a:buClrTx/>
                        <a:buSzTx/>
                        <a:buFont typeface="Arial" panose="020B0604020202020204" pitchFamily="34" charset="0"/>
                        <a:buNone/>
                        <a:tabLst/>
                        <a:defRPr/>
                      </a:pPr>
                      <a:r>
                        <a:rPr lang="en-US" sz="1400" b="1" kern="1200" dirty="0">
                          <a:solidFill>
                            <a:srgbClr val="817A6C"/>
                          </a:solidFill>
                          <a:latin typeface="Arial" panose="020B0604020202020204" pitchFamily="34" charset="0"/>
                          <a:ea typeface="+mn-ea"/>
                          <a:cs typeface="+mn-cs"/>
                        </a:rPr>
                        <a:t>5</a:t>
                      </a:r>
                    </a:p>
                  </a:txBody>
                  <a:tcPr marL="61269" marR="61269"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52363484"/>
                  </a:ext>
                </a:extLst>
              </a:tr>
            </a:tbl>
          </a:graphicData>
        </a:graphic>
      </p:graphicFrame>
      <p:pic>
        <p:nvPicPr>
          <p:cNvPr id="37" name="flag_egypt">
            <a:extLst>
              <a:ext uri="{FF2B5EF4-FFF2-40B4-BE49-F238E27FC236}">
                <a16:creationId xmlns:a16="http://schemas.microsoft.com/office/drawing/2014/main" id="{0210FD42-5FA0-1A8B-8398-1481ABEFB9E8}"/>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10608545" y="4444047"/>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8" name="flag_UAE">
            <a:extLst>
              <a:ext uri="{FF2B5EF4-FFF2-40B4-BE49-F238E27FC236}">
                <a16:creationId xmlns:a16="http://schemas.microsoft.com/office/drawing/2014/main" id="{8A318ABF-51B7-4E7A-82E6-29C330E10177}"/>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11123140" y="4443457"/>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3" name="flag_egypt">
            <a:extLst>
              <a:ext uri="{FF2B5EF4-FFF2-40B4-BE49-F238E27FC236}">
                <a16:creationId xmlns:a16="http://schemas.microsoft.com/office/drawing/2014/main" id="{E8B05DB6-D23E-D7C2-7F90-B3CF4F062EC7}"/>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10345755" y="4883480"/>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4" name="flag_UAE">
            <a:extLst>
              <a:ext uri="{FF2B5EF4-FFF2-40B4-BE49-F238E27FC236}">
                <a16:creationId xmlns:a16="http://schemas.microsoft.com/office/drawing/2014/main" id="{60D975A8-B77E-0374-D755-962FEA646085}"/>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11355999" y="4883479"/>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5" name="flag_jordan">
            <a:extLst>
              <a:ext uri="{FF2B5EF4-FFF2-40B4-BE49-F238E27FC236}">
                <a16:creationId xmlns:a16="http://schemas.microsoft.com/office/drawing/2014/main" id="{A3EBCEC4-2131-EA00-5208-84AF4A3BF75D}"/>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10850877" y="4883480"/>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19050">
                <a:gradFill flip="none" rotWithShape="1">
                  <a:gsLst>
                    <a:gs pos="0">
                      <a:schemeClr val="accent2"/>
                    </a:gs>
                    <a:gs pos="100000">
                      <a:schemeClr val="tx2"/>
                    </a:gs>
                  </a:gsLst>
                  <a:lin ang="2700000" scaled="1"/>
                  <a:tileRect/>
                </a:gradFill>
              </a14:hiddenLine>
            </a:ext>
          </a:extLst>
        </p:spPr>
      </p:pic>
      <p:pic>
        <p:nvPicPr>
          <p:cNvPr id="46" name="flag_jordan">
            <a:extLst>
              <a:ext uri="{FF2B5EF4-FFF2-40B4-BE49-F238E27FC236}">
                <a16:creationId xmlns:a16="http://schemas.microsoft.com/office/drawing/2014/main" id="{B97EC45C-2E2E-6BAE-B3F8-F84F288AC592}"/>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10592219" y="5338271"/>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19050">
                <a:gradFill flip="none" rotWithShape="1">
                  <a:gsLst>
                    <a:gs pos="0">
                      <a:schemeClr val="accent2"/>
                    </a:gs>
                    <a:gs pos="100000">
                      <a:schemeClr val="tx2"/>
                    </a:gs>
                  </a:gsLst>
                  <a:lin ang="2700000" scaled="1"/>
                  <a:tileRect/>
                </a:gradFill>
              </a14:hiddenLine>
            </a:ext>
          </a:extLst>
        </p:spPr>
      </p:pic>
      <p:pic>
        <p:nvPicPr>
          <p:cNvPr id="47" name="flag_UAE">
            <a:extLst>
              <a:ext uri="{FF2B5EF4-FFF2-40B4-BE49-F238E27FC236}">
                <a16:creationId xmlns:a16="http://schemas.microsoft.com/office/drawing/2014/main" id="{68228134-F1B2-7C0C-A82F-C6F6CD79374F}"/>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11001841" y="5348344"/>
            <a:ext cx="292125" cy="2533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custDataLst>
      <p:custData r:id="rId1"/>
    </p:custDataLst>
    <p:extLst>
      <p:ext uri="{BB962C8B-B14F-4D97-AF65-F5344CB8AC3E}">
        <p14:creationId xmlns:p14="http://schemas.microsoft.com/office/powerpoint/2010/main" val="3650285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O3H3K2m4vbQ2RTDYVD55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6AOOpOMVvtIePY8pHXl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gHPWlS5HXz9vLYClvST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1">
      <a:dk1>
        <a:srgbClr val="000000"/>
      </a:dk1>
      <a:lt1>
        <a:srgbClr val="FFFFFF"/>
      </a:lt1>
      <a:dk2>
        <a:srgbClr val="424C69"/>
      </a:dk2>
      <a:lt2>
        <a:srgbClr val="E7E6E6"/>
      </a:lt2>
      <a:accent1>
        <a:srgbClr val="424C69"/>
      </a:accent1>
      <a:accent2>
        <a:srgbClr val="D9625B"/>
      </a:accent2>
      <a:accent3>
        <a:srgbClr val="EBBE50"/>
      </a:accent3>
      <a:accent4>
        <a:srgbClr val="4C6966"/>
      </a:accent4>
      <a:accent5>
        <a:srgbClr val="AE9885"/>
      </a:accent5>
      <a:accent6>
        <a:srgbClr val="B38D3A"/>
      </a:accent6>
      <a:hlink>
        <a:srgbClr val="403E40"/>
      </a:hlink>
      <a:folHlink>
        <a:srgbClr val="DD9B9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DcR_SlideID>c432636c-bb71-4edb-b9b3-5e5d0d1708d0</DcR_SlideID>
</file>

<file path=customXml/item10.xml><?xml version="1.0" encoding="utf-8"?>
<DcR_SlideID>c432636c-bb71-4edb-b9b3-5e5d0d1708d0</DcR_SlideID>
</file>

<file path=customXml/item11.xml><?xml version="1.0" encoding="utf-8"?>
<DcR_SlideID>c432636c-bb71-4edb-b9b3-5e5d0d1708d0</DcR_SlideID>
</file>

<file path=customXml/item12.xml><?xml version="1.0" encoding="utf-8"?>
<DcR_SlideID>c432636c-bb71-4edb-b9b3-5e5d0d1708d0</DcR_SlideID>
</file>

<file path=customXml/item13.xml><?xml version="1.0" encoding="utf-8"?>
<DcR_SlideID>c432636c-bb71-4edb-b9b3-5e5d0d1708d0</DcR_SlideID>
</file>

<file path=customXml/item14.xml><?xml version="1.0" encoding="utf-8"?>
<DcR_SlideID>c432636c-bb71-4edb-b9b3-5e5d0d1708d0</DcR_SlideID>
</file>

<file path=customXml/item15.xml><?xml version="1.0" encoding="utf-8"?>
<DcR_SlideID>c432636c-bb71-4edb-b9b3-5e5d0d1708d0</DcR_SlideID>
</file>

<file path=customXml/item16.xml><?xml version="1.0" encoding="utf-8"?>
<DcR_SlideID>c432636c-bb71-4edb-b9b3-5e5d0d1708d0</DcR_SlideID>
</file>

<file path=customXml/item17.xml><?xml version="1.0" encoding="utf-8"?>
<DcR_SlideID>c432636c-bb71-4edb-b9b3-5e5d0d1708d0</DcR_SlideID>
</file>

<file path=customXml/item18.xml><?xml version="1.0" encoding="utf-8"?>
<DcR_SlideID>c432636c-bb71-4edb-b9b3-5e5d0d1708d0</DcR_SlideID>
</file>

<file path=customXml/item2.xml><?xml version="1.0" encoding="utf-8"?>
<DcR_SlideID>c432636c-bb71-4edb-b9b3-5e5d0d1708d0</DcR_SlideID>
</file>

<file path=customXml/item3.xml><?xml version="1.0" encoding="utf-8"?>
<DcR_SlideID>c432636c-bb71-4edb-b9b3-5e5d0d1708d0</DcR_SlideID>
</file>

<file path=customXml/item4.xml><?xml version="1.0" encoding="utf-8"?>
<DcR_SlideID>9259a0c4-1ec0-4a48-8a21-d5de64682a98</DcR_SlideID>
</file>

<file path=customXml/item5.xml><?xml version="1.0" encoding="utf-8"?>
<DcR_SlideID>c432636c-bb71-4edb-b9b3-5e5d0d1708d0</DcR_SlideID>
</file>

<file path=customXml/item6.xml><?xml version="1.0" encoding="utf-8"?>
<DcR_SlideID>c432636c-bb71-4edb-b9b3-5e5d0d1708d0</DcR_SlideID>
</file>

<file path=customXml/item7.xml><?xml version="1.0" encoding="utf-8"?>
<DcR_SlideID>c432636c-bb71-4edb-b9b3-5e5d0d1708d0</DcR_SlideID>
</file>

<file path=customXml/item8.xml><?xml version="1.0" encoding="utf-8"?>
<DcR_SlideID>c432636c-bb71-4edb-b9b3-5e5d0d1708d0</DcR_SlideID>
</file>

<file path=customXml/item9.xml><?xml version="1.0" encoding="utf-8"?>
<DcR_SlideID>c432636c-bb71-4edb-b9b3-5e5d0d1708d0</DcR_SlideID>
</file>

<file path=customXml/itemProps1.xml><?xml version="1.0" encoding="utf-8"?>
<ds:datastoreItem xmlns:ds="http://schemas.openxmlformats.org/officeDocument/2006/customXml" ds:itemID="{6043C618-B83F-4915-AE6B-6F6AC606C4C5}">
  <ds:schemaRefs/>
</ds:datastoreItem>
</file>

<file path=customXml/itemProps10.xml><?xml version="1.0" encoding="utf-8"?>
<ds:datastoreItem xmlns:ds="http://schemas.openxmlformats.org/officeDocument/2006/customXml" ds:itemID="{BAF77F01-AE1D-43F5-9784-ACB730B5A2AF}">
  <ds:schemaRefs/>
</ds:datastoreItem>
</file>

<file path=customXml/itemProps11.xml><?xml version="1.0" encoding="utf-8"?>
<ds:datastoreItem xmlns:ds="http://schemas.openxmlformats.org/officeDocument/2006/customXml" ds:itemID="{2CBA5323-8536-4CAC-831D-4D0CA9B50343}">
  <ds:schemaRefs/>
</ds:datastoreItem>
</file>

<file path=customXml/itemProps12.xml><?xml version="1.0" encoding="utf-8"?>
<ds:datastoreItem xmlns:ds="http://schemas.openxmlformats.org/officeDocument/2006/customXml" ds:itemID="{C502E3EB-F8B8-4DF8-A150-DDC2B077DC5C}">
  <ds:schemaRefs/>
</ds:datastoreItem>
</file>

<file path=customXml/itemProps13.xml><?xml version="1.0" encoding="utf-8"?>
<ds:datastoreItem xmlns:ds="http://schemas.openxmlformats.org/officeDocument/2006/customXml" ds:itemID="{41E966DE-46BF-4032-87CF-DD272A87F1E4}">
  <ds:schemaRefs/>
</ds:datastoreItem>
</file>

<file path=customXml/itemProps14.xml><?xml version="1.0" encoding="utf-8"?>
<ds:datastoreItem xmlns:ds="http://schemas.openxmlformats.org/officeDocument/2006/customXml" ds:itemID="{E42FB587-16B5-4A89-88CF-FE5A7EB9141D}">
  <ds:schemaRefs/>
</ds:datastoreItem>
</file>

<file path=customXml/itemProps15.xml><?xml version="1.0" encoding="utf-8"?>
<ds:datastoreItem xmlns:ds="http://schemas.openxmlformats.org/officeDocument/2006/customXml" ds:itemID="{86C7EFFE-2D13-4BBB-94A9-5D3980941F07}">
  <ds:schemaRefs/>
</ds:datastoreItem>
</file>

<file path=customXml/itemProps16.xml><?xml version="1.0" encoding="utf-8"?>
<ds:datastoreItem xmlns:ds="http://schemas.openxmlformats.org/officeDocument/2006/customXml" ds:itemID="{701D57AD-A4E5-430C-A2AA-6567A974C35E}">
  <ds:schemaRefs/>
</ds:datastoreItem>
</file>

<file path=customXml/itemProps17.xml><?xml version="1.0" encoding="utf-8"?>
<ds:datastoreItem xmlns:ds="http://schemas.openxmlformats.org/officeDocument/2006/customXml" ds:itemID="{1718B530-6D5D-489D-AA71-E71DF96C31AA}">
  <ds:schemaRefs/>
</ds:datastoreItem>
</file>

<file path=customXml/itemProps18.xml><?xml version="1.0" encoding="utf-8"?>
<ds:datastoreItem xmlns:ds="http://schemas.openxmlformats.org/officeDocument/2006/customXml" ds:itemID="{1F82FAAE-E141-4BCF-8AEB-57282054DA39}">
  <ds:schemaRefs/>
</ds:datastoreItem>
</file>

<file path=customXml/itemProps2.xml><?xml version="1.0" encoding="utf-8"?>
<ds:datastoreItem xmlns:ds="http://schemas.openxmlformats.org/officeDocument/2006/customXml" ds:itemID="{A8F37C4B-80FD-4C00-940C-0C9E3091477A}">
  <ds:schemaRefs/>
</ds:datastoreItem>
</file>

<file path=customXml/itemProps3.xml><?xml version="1.0" encoding="utf-8"?>
<ds:datastoreItem xmlns:ds="http://schemas.openxmlformats.org/officeDocument/2006/customXml" ds:itemID="{0FF7CD66-7026-4321-9349-4C2027355A0B}">
  <ds:schemaRefs/>
</ds:datastoreItem>
</file>

<file path=customXml/itemProps4.xml><?xml version="1.0" encoding="utf-8"?>
<ds:datastoreItem xmlns:ds="http://schemas.openxmlformats.org/officeDocument/2006/customXml" ds:itemID="{17AC63A1-2172-495B-9B51-85492954E1E9}">
  <ds:schemaRefs/>
</ds:datastoreItem>
</file>

<file path=customXml/itemProps5.xml><?xml version="1.0" encoding="utf-8"?>
<ds:datastoreItem xmlns:ds="http://schemas.openxmlformats.org/officeDocument/2006/customXml" ds:itemID="{F83AFCA8-9ED0-411B-B21C-DE3E6FBA63D4}">
  <ds:schemaRefs/>
</ds:datastoreItem>
</file>

<file path=customXml/itemProps6.xml><?xml version="1.0" encoding="utf-8"?>
<ds:datastoreItem xmlns:ds="http://schemas.openxmlformats.org/officeDocument/2006/customXml" ds:itemID="{3DEA0CD5-729E-4257-ACE4-FD9CE27556AC}">
  <ds:schemaRefs/>
</ds:datastoreItem>
</file>

<file path=customXml/itemProps7.xml><?xml version="1.0" encoding="utf-8"?>
<ds:datastoreItem xmlns:ds="http://schemas.openxmlformats.org/officeDocument/2006/customXml" ds:itemID="{2F4DAB67-D48C-49E0-8B6D-295363B95A7D}">
  <ds:schemaRefs/>
</ds:datastoreItem>
</file>

<file path=customXml/itemProps8.xml><?xml version="1.0" encoding="utf-8"?>
<ds:datastoreItem xmlns:ds="http://schemas.openxmlformats.org/officeDocument/2006/customXml" ds:itemID="{7A16C02F-390C-4F35-9DCB-64E376FA5EF9}">
  <ds:schemaRefs/>
</ds:datastoreItem>
</file>

<file path=customXml/itemProps9.xml><?xml version="1.0" encoding="utf-8"?>
<ds:datastoreItem xmlns:ds="http://schemas.openxmlformats.org/officeDocument/2006/customXml" ds:itemID="{412653B6-CEAA-4277-9E0C-843B30EB2BFD}">
  <ds:schemaRefs/>
</ds:datastoreItem>
</file>

<file path=docProps/app.xml><?xml version="1.0" encoding="utf-8"?>
<Properties xmlns="http://schemas.openxmlformats.org/officeDocument/2006/extended-properties" xmlns:vt="http://schemas.openxmlformats.org/officeDocument/2006/docPropsVTypes">
  <TotalTime>28655</TotalTime>
  <Words>3005</Words>
  <Application>Microsoft Office PowerPoint</Application>
  <PresentationFormat>Widescreen</PresentationFormat>
  <Paragraphs>580</Paragraphs>
  <Slides>34</Slides>
  <Notes>17</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8" baseType="lpstr">
      <vt:lpstr>Aptos Narrow</vt:lpstr>
      <vt:lpstr>Arial</vt:lpstr>
      <vt:lpstr>Arial Narrow</vt:lpstr>
      <vt:lpstr>Calibri</vt:lpstr>
      <vt:lpstr>Calibri Light</vt:lpstr>
      <vt:lpstr>ITC Avant Garde Std Bk</vt:lpstr>
      <vt:lpstr>Janna LT</vt:lpstr>
      <vt:lpstr>Sakkal Majalla</vt:lpstr>
      <vt:lpstr>Tajawal</vt:lpstr>
      <vt:lpstr>Trebuchet MS</vt:lpstr>
      <vt:lpstr>Wingdings</vt:lpstr>
      <vt:lpstr>1_Office Theme</vt:lpstr>
      <vt:lpstr>3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adi Shafiq Qayed فادي شفيق القائد</dc:creator>
  <cp:lastModifiedBy>Fadi Shafiq Qayed فادي شفيق القائد</cp:lastModifiedBy>
  <cp:revision>34</cp:revision>
  <dcterms:created xsi:type="dcterms:W3CDTF">2023-12-11T09:21:51Z</dcterms:created>
  <dcterms:modified xsi:type="dcterms:W3CDTF">2025-03-10T05:47:31Z</dcterms:modified>
</cp:coreProperties>
</file>